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sldIdLst>
    <p:sldId id="294" r:id="rId5"/>
    <p:sldId id="325" r:id="rId6"/>
    <p:sldId id="349" r:id="rId7"/>
    <p:sldId id="350" r:id="rId8"/>
    <p:sldId id="351" r:id="rId9"/>
    <p:sldId id="357" r:id="rId10"/>
    <p:sldId id="356" r:id="rId11"/>
    <p:sldId id="354" r:id="rId12"/>
  </p:sldIdLst>
  <p:sldSz cx="9144000" cy="5143500" type="screen16x9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95" autoAdjust="0"/>
    <p:restoredTop sz="94660"/>
  </p:normalViewPr>
  <p:slideViewPr>
    <p:cSldViewPr snapToGrid="0" snapToObjects="1">
      <p:cViewPr varScale="1">
        <p:scale>
          <a:sx n="101" d="100"/>
          <a:sy n="101" d="100"/>
        </p:scale>
        <p:origin x="540" y="102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7CD874-79CF-49E4-8D40-5593AA0DF0BB}" type="doc">
      <dgm:prSet loTypeId="urn:microsoft.com/office/officeart/2005/8/layout/process5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6FDA9F75-6B41-4FD2-A692-CF7313427733}">
      <dgm:prSet phldrT="[Text]" custT="1"/>
      <dgm:spPr/>
      <dgm:t>
        <a:bodyPr/>
        <a:lstStyle/>
        <a:p>
          <a:r>
            <a:rPr lang="en-US" sz="1400" b="1" dirty="0" err="1"/>
            <a:t>Behov</a:t>
          </a:r>
          <a:endParaRPr lang="en-US" sz="1400" b="1" dirty="0"/>
        </a:p>
      </dgm:t>
    </dgm:pt>
    <dgm:pt modelId="{9941A9AA-E8C8-4774-8016-3B5B301D7541}" type="parTrans" cxnId="{CB8A14A6-2098-43FA-9427-956610E8EC14}">
      <dgm:prSet/>
      <dgm:spPr/>
      <dgm:t>
        <a:bodyPr/>
        <a:lstStyle/>
        <a:p>
          <a:endParaRPr lang="en-US" sz="1200"/>
        </a:p>
      </dgm:t>
    </dgm:pt>
    <dgm:pt modelId="{309A82A4-79E8-42AE-B9E4-E4639750C58A}" type="sibTrans" cxnId="{CB8A14A6-2098-43FA-9427-956610E8EC14}">
      <dgm:prSet custT="1"/>
      <dgm:spPr/>
      <dgm:t>
        <a:bodyPr/>
        <a:lstStyle/>
        <a:p>
          <a:endParaRPr lang="en-US" sz="600"/>
        </a:p>
      </dgm:t>
    </dgm:pt>
    <dgm:pt modelId="{304F3524-B933-4108-8558-E9977262C9B3}">
      <dgm:prSet phldrT="[Text]" custT="1"/>
      <dgm:spPr/>
      <dgm:t>
        <a:bodyPr/>
        <a:lstStyle/>
        <a:p>
          <a:r>
            <a:rPr lang="en-US" sz="1400" b="1" dirty="0" err="1"/>
            <a:t>Konsept-utvikling</a:t>
          </a:r>
          <a:endParaRPr lang="en-US" sz="1400" b="1" dirty="0"/>
        </a:p>
      </dgm:t>
    </dgm:pt>
    <dgm:pt modelId="{D8E9054F-386B-4E5D-890D-85A52C64B922}" type="parTrans" cxnId="{E2E1C132-238E-4BE7-B5EE-3AC200E7356E}">
      <dgm:prSet/>
      <dgm:spPr/>
      <dgm:t>
        <a:bodyPr/>
        <a:lstStyle/>
        <a:p>
          <a:endParaRPr lang="en-US" sz="1200"/>
        </a:p>
      </dgm:t>
    </dgm:pt>
    <dgm:pt modelId="{A69D926C-9159-4760-BD1A-5290ECEE6202}" type="sibTrans" cxnId="{E2E1C132-238E-4BE7-B5EE-3AC200E7356E}">
      <dgm:prSet custT="1"/>
      <dgm:spPr/>
      <dgm:t>
        <a:bodyPr/>
        <a:lstStyle/>
        <a:p>
          <a:endParaRPr lang="en-US" sz="600"/>
        </a:p>
      </dgm:t>
    </dgm:pt>
    <dgm:pt modelId="{9B1624D4-C32A-4332-A86C-1465B856291C}">
      <dgm:prSet phldrT="[Text]" custT="1"/>
      <dgm:spPr/>
      <dgm:t>
        <a:bodyPr/>
        <a:lstStyle/>
        <a:p>
          <a:r>
            <a:rPr lang="en-US" sz="1400" b="1" dirty="0" err="1"/>
            <a:t>Konsept-bearbeid-ing</a:t>
          </a:r>
          <a:endParaRPr lang="en-US" sz="1400" b="1" dirty="0"/>
        </a:p>
      </dgm:t>
    </dgm:pt>
    <dgm:pt modelId="{E9066798-64F3-4DA8-9601-1067FD52C112}" type="parTrans" cxnId="{E09690A6-9447-4E05-BC3B-25F36D3ABEEC}">
      <dgm:prSet/>
      <dgm:spPr/>
      <dgm:t>
        <a:bodyPr/>
        <a:lstStyle/>
        <a:p>
          <a:endParaRPr lang="en-US" sz="1200"/>
        </a:p>
      </dgm:t>
    </dgm:pt>
    <dgm:pt modelId="{A8D2108D-6B2A-4C51-B195-3CB52EC490A1}" type="sibTrans" cxnId="{E09690A6-9447-4E05-BC3B-25F36D3ABEEC}">
      <dgm:prSet custT="1"/>
      <dgm:spPr/>
      <dgm:t>
        <a:bodyPr/>
        <a:lstStyle/>
        <a:p>
          <a:endParaRPr lang="en-US" sz="600"/>
        </a:p>
      </dgm:t>
    </dgm:pt>
    <dgm:pt modelId="{91BE2E46-B84C-48E1-AF7F-0DD59D53CA0E}">
      <dgm:prSet phldrT="[Text]" custT="1"/>
      <dgm:spPr/>
      <dgm:t>
        <a:bodyPr/>
        <a:lstStyle/>
        <a:p>
          <a:r>
            <a:rPr lang="en-US" sz="1400" b="1" dirty="0" err="1"/>
            <a:t>Detalj-prosj-ektering</a:t>
          </a:r>
          <a:endParaRPr lang="en-US" sz="1400" b="1" dirty="0"/>
        </a:p>
      </dgm:t>
    </dgm:pt>
    <dgm:pt modelId="{23A84B2A-EFAA-4A3C-9DDB-F188FF4A7CEB}" type="parTrans" cxnId="{6B1BD287-9B48-407A-88F4-0FC3C7BC67B0}">
      <dgm:prSet/>
      <dgm:spPr/>
      <dgm:t>
        <a:bodyPr/>
        <a:lstStyle/>
        <a:p>
          <a:endParaRPr lang="en-US" sz="1200"/>
        </a:p>
      </dgm:t>
    </dgm:pt>
    <dgm:pt modelId="{6A7A1A83-E4FF-4DBA-BCAD-3EC7C28248BB}" type="sibTrans" cxnId="{6B1BD287-9B48-407A-88F4-0FC3C7BC67B0}">
      <dgm:prSet custT="1"/>
      <dgm:spPr/>
      <dgm:t>
        <a:bodyPr/>
        <a:lstStyle/>
        <a:p>
          <a:endParaRPr lang="en-US" sz="600"/>
        </a:p>
      </dgm:t>
    </dgm:pt>
    <dgm:pt modelId="{B91074B2-CB4A-49CD-969F-1629F566094A}">
      <dgm:prSet phldrT="[Text]" custT="1"/>
      <dgm:spPr/>
      <dgm:t>
        <a:bodyPr/>
        <a:lstStyle/>
        <a:p>
          <a:r>
            <a:rPr lang="en-US" sz="1400" b="1" dirty="0" err="1"/>
            <a:t>Produk-sjon</a:t>
          </a:r>
          <a:endParaRPr lang="en-US" sz="1400" b="1" dirty="0"/>
        </a:p>
      </dgm:t>
    </dgm:pt>
    <dgm:pt modelId="{88ACA7BB-496E-4E95-B779-DA7E8BB5C1DC}" type="parTrans" cxnId="{BDEE63F7-93FC-46B8-AA4B-043A3DF73676}">
      <dgm:prSet/>
      <dgm:spPr/>
      <dgm:t>
        <a:bodyPr/>
        <a:lstStyle/>
        <a:p>
          <a:endParaRPr lang="en-US" sz="1200"/>
        </a:p>
      </dgm:t>
    </dgm:pt>
    <dgm:pt modelId="{9AE0D291-1DA7-423D-A052-CD6E85432413}" type="sibTrans" cxnId="{BDEE63F7-93FC-46B8-AA4B-043A3DF73676}">
      <dgm:prSet custT="1"/>
      <dgm:spPr/>
      <dgm:t>
        <a:bodyPr/>
        <a:lstStyle/>
        <a:p>
          <a:endParaRPr lang="en-US" sz="600"/>
        </a:p>
      </dgm:t>
    </dgm:pt>
    <dgm:pt modelId="{788C3357-E946-4875-B845-8A68473A9C2F}">
      <dgm:prSet phldrT="[Text]" custT="1"/>
      <dgm:spPr/>
      <dgm:t>
        <a:bodyPr/>
        <a:lstStyle/>
        <a:p>
          <a:r>
            <a:rPr lang="en-US" sz="1400" b="1" dirty="0"/>
            <a:t>Over-levering/</a:t>
          </a:r>
          <a:r>
            <a:rPr lang="en-US" sz="1400" b="1" dirty="0" err="1"/>
            <a:t>bruk</a:t>
          </a:r>
          <a:endParaRPr lang="en-US" sz="1400" b="1" dirty="0"/>
        </a:p>
      </dgm:t>
    </dgm:pt>
    <dgm:pt modelId="{268D53DC-32D7-4B28-85D6-8A9690B63FE2}" type="parTrans" cxnId="{A53550A3-4830-4369-83CB-5464DA95404D}">
      <dgm:prSet/>
      <dgm:spPr/>
      <dgm:t>
        <a:bodyPr/>
        <a:lstStyle/>
        <a:p>
          <a:endParaRPr lang="en-US" sz="1200"/>
        </a:p>
      </dgm:t>
    </dgm:pt>
    <dgm:pt modelId="{DD91B094-D94E-4D3F-A209-AF4BDE0510C3}" type="sibTrans" cxnId="{A53550A3-4830-4369-83CB-5464DA95404D}">
      <dgm:prSet/>
      <dgm:spPr/>
      <dgm:t>
        <a:bodyPr/>
        <a:lstStyle/>
        <a:p>
          <a:endParaRPr lang="en-US" sz="1200"/>
        </a:p>
      </dgm:t>
    </dgm:pt>
    <dgm:pt modelId="{4426CF34-B5DB-4393-89A3-8619B76C044C}" type="pres">
      <dgm:prSet presAssocID="{607CD874-79CF-49E4-8D40-5593AA0DF0BB}" presName="diagram" presStyleCnt="0">
        <dgm:presLayoutVars>
          <dgm:dir/>
          <dgm:resizeHandles val="exact"/>
        </dgm:presLayoutVars>
      </dgm:prSet>
      <dgm:spPr/>
    </dgm:pt>
    <dgm:pt modelId="{AFA700C3-3F91-4E53-84A0-F3F5C201B955}" type="pres">
      <dgm:prSet presAssocID="{6FDA9F75-6B41-4FD2-A692-CF7313427733}" presName="node" presStyleLbl="node1" presStyleIdx="0" presStyleCnt="6" custScaleY="210360">
        <dgm:presLayoutVars>
          <dgm:bulletEnabled val="1"/>
        </dgm:presLayoutVars>
      </dgm:prSet>
      <dgm:spPr/>
    </dgm:pt>
    <dgm:pt modelId="{F49D5A9C-F191-4877-B1CF-C681116C713E}" type="pres">
      <dgm:prSet presAssocID="{309A82A4-79E8-42AE-B9E4-E4639750C58A}" presName="sibTrans" presStyleLbl="sibTrans2D1" presStyleIdx="0" presStyleCnt="5"/>
      <dgm:spPr/>
    </dgm:pt>
    <dgm:pt modelId="{26335D79-BFFA-4D30-A164-627C35279034}" type="pres">
      <dgm:prSet presAssocID="{309A82A4-79E8-42AE-B9E4-E4639750C58A}" presName="connectorText" presStyleLbl="sibTrans2D1" presStyleIdx="0" presStyleCnt="5"/>
      <dgm:spPr/>
    </dgm:pt>
    <dgm:pt modelId="{B0B9A6A9-5AB1-4B04-BC45-56CFD2F6F993}" type="pres">
      <dgm:prSet presAssocID="{304F3524-B933-4108-8558-E9977262C9B3}" presName="node" presStyleLbl="node1" presStyleIdx="1" presStyleCnt="6" custScaleY="210360">
        <dgm:presLayoutVars>
          <dgm:bulletEnabled val="1"/>
        </dgm:presLayoutVars>
      </dgm:prSet>
      <dgm:spPr/>
    </dgm:pt>
    <dgm:pt modelId="{7CB5C6AA-B96B-4284-817C-E74E434D8FAC}" type="pres">
      <dgm:prSet presAssocID="{A69D926C-9159-4760-BD1A-5290ECEE6202}" presName="sibTrans" presStyleLbl="sibTrans2D1" presStyleIdx="1" presStyleCnt="5"/>
      <dgm:spPr/>
    </dgm:pt>
    <dgm:pt modelId="{E2869C5D-CC72-40F7-8EB3-B61EF24C6E0F}" type="pres">
      <dgm:prSet presAssocID="{A69D926C-9159-4760-BD1A-5290ECEE6202}" presName="connectorText" presStyleLbl="sibTrans2D1" presStyleIdx="1" presStyleCnt="5"/>
      <dgm:spPr/>
    </dgm:pt>
    <dgm:pt modelId="{94A935B8-C599-4362-83C5-3D3121B4C862}" type="pres">
      <dgm:prSet presAssocID="{9B1624D4-C32A-4332-A86C-1465B856291C}" presName="node" presStyleLbl="node1" presStyleIdx="2" presStyleCnt="6" custScaleY="210360">
        <dgm:presLayoutVars>
          <dgm:bulletEnabled val="1"/>
        </dgm:presLayoutVars>
      </dgm:prSet>
      <dgm:spPr/>
    </dgm:pt>
    <dgm:pt modelId="{AC24E9AF-1DA8-49F3-9454-4357435F4497}" type="pres">
      <dgm:prSet presAssocID="{A8D2108D-6B2A-4C51-B195-3CB52EC490A1}" presName="sibTrans" presStyleLbl="sibTrans2D1" presStyleIdx="2" presStyleCnt="5"/>
      <dgm:spPr/>
    </dgm:pt>
    <dgm:pt modelId="{99F07C7F-D4A3-47CC-B665-01D176F90A5A}" type="pres">
      <dgm:prSet presAssocID="{A8D2108D-6B2A-4C51-B195-3CB52EC490A1}" presName="connectorText" presStyleLbl="sibTrans2D1" presStyleIdx="2" presStyleCnt="5"/>
      <dgm:spPr/>
    </dgm:pt>
    <dgm:pt modelId="{F307ED7C-491B-4B8C-9D70-97913F943E95}" type="pres">
      <dgm:prSet presAssocID="{91BE2E46-B84C-48E1-AF7F-0DD59D53CA0E}" presName="node" presStyleLbl="node1" presStyleIdx="3" presStyleCnt="6" custScaleY="210360">
        <dgm:presLayoutVars>
          <dgm:bulletEnabled val="1"/>
        </dgm:presLayoutVars>
      </dgm:prSet>
      <dgm:spPr/>
    </dgm:pt>
    <dgm:pt modelId="{201014B3-767D-4F36-B51A-E1043F84D5C7}" type="pres">
      <dgm:prSet presAssocID="{6A7A1A83-E4FF-4DBA-BCAD-3EC7C28248BB}" presName="sibTrans" presStyleLbl="sibTrans2D1" presStyleIdx="3" presStyleCnt="5"/>
      <dgm:spPr/>
    </dgm:pt>
    <dgm:pt modelId="{26C19205-E153-4907-983F-7F1286BA0585}" type="pres">
      <dgm:prSet presAssocID="{6A7A1A83-E4FF-4DBA-BCAD-3EC7C28248BB}" presName="connectorText" presStyleLbl="sibTrans2D1" presStyleIdx="3" presStyleCnt="5"/>
      <dgm:spPr/>
    </dgm:pt>
    <dgm:pt modelId="{1C4B3FB6-6EA0-441A-AE6F-5F8345203816}" type="pres">
      <dgm:prSet presAssocID="{B91074B2-CB4A-49CD-969F-1629F566094A}" presName="node" presStyleLbl="node1" presStyleIdx="4" presStyleCnt="6" custScaleY="210360">
        <dgm:presLayoutVars>
          <dgm:bulletEnabled val="1"/>
        </dgm:presLayoutVars>
      </dgm:prSet>
      <dgm:spPr/>
    </dgm:pt>
    <dgm:pt modelId="{0777B376-F3CE-4159-A6CF-77060AF5126C}" type="pres">
      <dgm:prSet presAssocID="{9AE0D291-1DA7-423D-A052-CD6E85432413}" presName="sibTrans" presStyleLbl="sibTrans2D1" presStyleIdx="4" presStyleCnt="5"/>
      <dgm:spPr/>
    </dgm:pt>
    <dgm:pt modelId="{FB971F5B-D6AF-4904-852F-641041DE7A0F}" type="pres">
      <dgm:prSet presAssocID="{9AE0D291-1DA7-423D-A052-CD6E85432413}" presName="connectorText" presStyleLbl="sibTrans2D1" presStyleIdx="4" presStyleCnt="5"/>
      <dgm:spPr/>
    </dgm:pt>
    <dgm:pt modelId="{CF9DFC08-457A-47A2-A18C-F6F9FCDB4468}" type="pres">
      <dgm:prSet presAssocID="{788C3357-E946-4875-B845-8A68473A9C2F}" presName="node" presStyleLbl="node1" presStyleIdx="5" presStyleCnt="6" custScaleY="210360">
        <dgm:presLayoutVars>
          <dgm:bulletEnabled val="1"/>
        </dgm:presLayoutVars>
      </dgm:prSet>
      <dgm:spPr/>
    </dgm:pt>
  </dgm:ptLst>
  <dgm:cxnLst>
    <dgm:cxn modelId="{C800810B-11D3-4EE8-966C-FA2516C2614B}" type="presOf" srcId="{309A82A4-79E8-42AE-B9E4-E4639750C58A}" destId="{F49D5A9C-F191-4877-B1CF-C681116C713E}" srcOrd="0" destOrd="0" presId="urn:microsoft.com/office/officeart/2005/8/layout/process5"/>
    <dgm:cxn modelId="{36BEDA15-0C4E-4486-BB75-07F2A73B759A}" type="presOf" srcId="{9AE0D291-1DA7-423D-A052-CD6E85432413}" destId="{FB971F5B-D6AF-4904-852F-641041DE7A0F}" srcOrd="1" destOrd="0" presId="urn:microsoft.com/office/officeart/2005/8/layout/process5"/>
    <dgm:cxn modelId="{B6AEDD1B-DE34-4EC2-AF69-920C2DE47D36}" type="presOf" srcId="{607CD874-79CF-49E4-8D40-5593AA0DF0BB}" destId="{4426CF34-B5DB-4393-89A3-8619B76C044C}" srcOrd="0" destOrd="0" presId="urn:microsoft.com/office/officeart/2005/8/layout/process5"/>
    <dgm:cxn modelId="{2BD56F24-3A08-4625-9B4E-3C3CAFA7A15F}" type="presOf" srcId="{6A7A1A83-E4FF-4DBA-BCAD-3EC7C28248BB}" destId="{201014B3-767D-4F36-B51A-E1043F84D5C7}" srcOrd="0" destOrd="0" presId="urn:microsoft.com/office/officeart/2005/8/layout/process5"/>
    <dgm:cxn modelId="{E2E1C132-238E-4BE7-B5EE-3AC200E7356E}" srcId="{607CD874-79CF-49E4-8D40-5593AA0DF0BB}" destId="{304F3524-B933-4108-8558-E9977262C9B3}" srcOrd="1" destOrd="0" parTransId="{D8E9054F-386B-4E5D-890D-85A52C64B922}" sibTransId="{A69D926C-9159-4760-BD1A-5290ECEE6202}"/>
    <dgm:cxn modelId="{95EC703C-935B-417A-955C-42A719ED3F6A}" type="presOf" srcId="{A8D2108D-6B2A-4C51-B195-3CB52EC490A1}" destId="{99F07C7F-D4A3-47CC-B665-01D176F90A5A}" srcOrd="1" destOrd="0" presId="urn:microsoft.com/office/officeart/2005/8/layout/process5"/>
    <dgm:cxn modelId="{8B06025D-5EB0-41DC-B336-790BA78BF1A2}" type="presOf" srcId="{9B1624D4-C32A-4332-A86C-1465B856291C}" destId="{94A935B8-C599-4362-83C5-3D3121B4C862}" srcOrd="0" destOrd="0" presId="urn:microsoft.com/office/officeart/2005/8/layout/process5"/>
    <dgm:cxn modelId="{FA26B661-9AF5-4C68-AA19-F1F478EB8712}" type="presOf" srcId="{A69D926C-9159-4760-BD1A-5290ECEE6202}" destId="{E2869C5D-CC72-40F7-8EB3-B61EF24C6E0F}" srcOrd="1" destOrd="0" presId="urn:microsoft.com/office/officeart/2005/8/layout/process5"/>
    <dgm:cxn modelId="{4A112867-7D06-49CF-B995-AB56EEF3E3A3}" type="presOf" srcId="{304F3524-B933-4108-8558-E9977262C9B3}" destId="{B0B9A6A9-5AB1-4B04-BC45-56CFD2F6F993}" srcOrd="0" destOrd="0" presId="urn:microsoft.com/office/officeart/2005/8/layout/process5"/>
    <dgm:cxn modelId="{3708DE56-57A0-486D-B9D7-4F3613A01215}" type="presOf" srcId="{A8D2108D-6B2A-4C51-B195-3CB52EC490A1}" destId="{AC24E9AF-1DA8-49F3-9454-4357435F4497}" srcOrd="0" destOrd="0" presId="urn:microsoft.com/office/officeart/2005/8/layout/process5"/>
    <dgm:cxn modelId="{DD4D2F58-5C66-4AF6-A924-9E0E7738A87A}" type="presOf" srcId="{A69D926C-9159-4760-BD1A-5290ECEE6202}" destId="{7CB5C6AA-B96B-4284-817C-E74E434D8FAC}" srcOrd="0" destOrd="0" presId="urn:microsoft.com/office/officeart/2005/8/layout/process5"/>
    <dgm:cxn modelId="{04CF7A7B-AD1B-4F10-8B7F-EFEB4768D62D}" type="presOf" srcId="{9AE0D291-1DA7-423D-A052-CD6E85432413}" destId="{0777B376-F3CE-4159-A6CF-77060AF5126C}" srcOrd="0" destOrd="0" presId="urn:microsoft.com/office/officeart/2005/8/layout/process5"/>
    <dgm:cxn modelId="{6B1BD287-9B48-407A-88F4-0FC3C7BC67B0}" srcId="{607CD874-79CF-49E4-8D40-5593AA0DF0BB}" destId="{91BE2E46-B84C-48E1-AF7F-0DD59D53CA0E}" srcOrd="3" destOrd="0" parTransId="{23A84B2A-EFAA-4A3C-9DDB-F188FF4A7CEB}" sibTransId="{6A7A1A83-E4FF-4DBA-BCAD-3EC7C28248BB}"/>
    <dgm:cxn modelId="{F137BA9A-CF5F-4F41-B6F1-8DBCD6C4D698}" type="presOf" srcId="{6FDA9F75-6B41-4FD2-A692-CF7313427733}" destId="{AFA700C3-3F91-4E53-84A0-F3F5C201B955}" srcOrd="0" destOrd="0" presId="urn:microsoft.com/office/officeart/2005/8/layout/process5"/>
    <dgm:cxn modelId="{A53550A3-4830-4369-83CB-5464DA95404D}" srcId="{607CD874-79CF-49E4-8D40-5593AA0DF0BB}" destId="{788C3357-E946-4875-B845-8A68473A9C2F}" srcOrd="5" destOrd="0" parTransId="{268D53DC-32D7-4B28-85D6-8A9690B63FE2}" sibTransId="{DD91B094-D94E-4D3F-A209-AF4BDE0510C3}"/>
    <dgm:cxn modelId="{A5DB69A4-8AD4-4C97-B8F6-2E1FCA399D9D}" type="presOf" srcId="{91BE2E46-B84C-48E1-AF7F-0DD59D53CA0E}" destId="{F307ED7C-491B-4B8C-9D70-97913F943E95}" srcOrd="0" destOrd="0" presId="urn:microsoft.com/office/officeart/2005/8/layout/process5"/>
    <dgm:cxn modelId="{CB8A14A6-2098-43FA-9427-956610E8EC14}" srcId="{607CD874-79CF-49E4-8D40-5593AA0DF0BB}" destId="{6FDA9F75-6B41-4FD2-A692-CF7313427733}" srcOrd="0" destOrd="0" parTransId="{9941A9AA-E8C8-4774-8016-3B5B301D7541}" sibTransId="{309A82A4-79E8-42AE-B9E4-E4639750C58A}"/>
    <dgm:cxn modelId="{E09690A6-9447-4E05-BC3B-25F36D3ABEEC}" srcId="{607CD874-79CF-49E4-8D40-5593AA0DF0BB}" destId="{9B1624D4-C32A-4332-A86C-1465B856291C}" srcOrd="2" destOrd="0" parTransId="{E9066798-64F3-4DA8-9601-1067FD52C112}" sibTransId="{A8D2108D-6B2A-4C51-B195-3CB52EC490A1}"/>
    <dgm:cxn modelId="{1E4D5FDD-6A51-4C9B-8226-AF2EEA93D5E0}" type="presOf" srcId="{B91074B2-CB4A-49CD-969F-1629F566094A}" destId="{1C4B3FB6-6EA0-441A-AE6F-5F8345203816}" srcOrd="0" destOrd="0" presId="urn:microsoft.com/office/officeart/2005/8/layout/process5"/>
    <dgm:cxn modelId="{7B3067DE-4E81-4A11-8564-A524450CEF2A}" type="presOf" srcId="{788C3357-E946-4875-B845-8A68473A9C2F}" destId="{CF9DFC08-457A-47A2-A18C-F6F9FCDB4468}" srcOrd="0" destOrd="0" presId="urn:microsoft.com/office/officeart/2005/8/layout/process5"/>
    <dgm:cxn modelId="{36CF5BE3-8F8D-4A87-A42C-439CD7B6A35C}" type="presOf" srcId="{6A7A1A83-E4FF-4DBA-BCAD-3EC7C28248BB}" destId="{26C19205-E153-4907-983F-7F1286BA0585}" srcOrd="1" destOrd="0" presId="urn:microsoft.com/office/officeart/2005/8/layout/process5"/>
    <dgm:cxn modelId="{4F451AE7-AFD1-4CA9-AE24-BC52F9A68DFB}" type="presOf" srcId="{309A82A4-79E8-42AE-B9E4-E4639750C58A}" destId="{26335D79-BFFA-4D30-A164-627C35279034}" srcOrd="1" destOrd="0" presId="urn:microsoft.com/office/officeart/2005/8/layout/process5"/>
    <dgm:cxn modelId="{BDEE63F7-93FC-46B8-AA4B-043A3DF73676}" srcId="{607CD874-79CF-49E4-8D40-5593AA0DF0BB}" destId="{B91074B2-CB4A-49CD-969F-1629F566094A}" srcOrd="4" destOrd="0" parTransId="{88ACA7BB-496E-4E95-B779-DA7E8BB5C1DC}" sibTransId="{9AE0D291-1DA7-423D-A052-CD6E85432413}"/>
    <dgm:cxn modelId="{DE3862FE-58A2-4229-8601-700A9ECB98D1}" type="presParOf" srcId="{4426CF34-B5DB-4393-89A3-8619B76C044C}" destId="{AFA700C3-3F91-4E53-84A0-F3F5C201B955}" srcOrd="0" destOrd="0" presId="urn:microsoft.com/office/officeart/2005/8/layout/process5"/>
    <dgm:cxn modelId="{D50504F3-7C1D-40DA-82DB-AFF1D960A0A4}" type="presParOf" srcId="{4426CF34-B5DB-4393-89A3-8619B76C044C}" destId="{F49D5A9C-F191-4877-B1CF-C681116C713E}" srcOrd="1" destOrd="0" presId="urn:microsoft.com/office/officeart/2005/8/layout/process5"/>
    <dgm:cxn modelId="{9BE6B5BB-1E05-4C15-887E-CAD087F8EADA}" type="presParOf" srcId="{F49D5A9C-F191-4877-B1CF-C681116C713E}" destId="{26335D79-BFFA-4D30-A164-627C35279034}" srcOrd="0" destOrd="0" presId="urn:microsoft.com/office/officeart/2005/8/layout/process5"/>
    <dgm:cxn modelId="{45F4DA7F-8809-478C-A06D-87A2F50ECA64}" type="presParOf" srcId="{4426CF34-B5DB-4393-89A3-8619B76C044C}" destId="{B0B9A6A9-5AB1-4B04-BC45-56CFD2F6F993}" srcOrd="2" destOrd="0" presId="urn:microsoft.com/office/officeart/2005/8/layout/process5"/>
    <dgm:cxn modelId="{DC977748-999C-4F69-B041-96724FE7F0AD}" type="presParOf" srcId="{4426CF34-B5DB-4393-89A3-8619B76C044C}" destId="{7CB5C6AA-B96B-4284-817C-E74E434D8FAC}" srcOrd="3" destOrd="0" presId="urn:microsoft.com/office/officeart/2005/8/layout/process5"/>
    <dgm:cxn modelId="{4F3D44EF-2297-4417-B058-012BE880E554}" type="presParOf" srcId="{7CB5C6AA-B96B-4284-817C-E74E434D8FAC}" destId="{E2869C5D-CC72-40F7-8EB3-B61EF24C6E0F}" srcOrd="0" destOrd="0" presId="urn:microsoft.com/office/officeart/2005/8/layout/process5"/>
    <dgm:cxn modelId="{EB1E5D39-803E-429C-9136-9BF7D4AD457D}" type="presParOf" srcId="{4426CF34-B5DB-4393-89A3-8619B76C044C}" destId="{94A935B8-C599-4362-83C5-3D3121B4C862}" srcOrd="4" destOrd="0" presId="urn:microsoft.com/office/officeart/2005/8/layout/process5"/>
    <dgm:cxn modelId="{5CC8D61E-F005-44FA-B781-9CAB357AE1C9}" type="presParOf" srcId="{4426CF34-B5DB-4393-89A3-8619B76C044C}" destId="{AC24E9AF-1DA8-49F3-9454-4357435F4497}" srcOrd="5" destOrd="0" presId="urn:microsoft.com/office/officeart/2005/8/layout/process5"/>
    <dgm:cxn modelId="{DFE7F7A7-E6D3-43AA-A628-5043F54130BD}" type="presParOf" srcId="{AC24E9AF-1DA8-49F3-9454-4357435F4497}" destId="{99F07C7F-D4A3-47CC-B665-01D176F90A5A}" srcOrd="0" destOrd="0" presId="urn:microsoft.com/office/officeart/2005/8/layout/process5"/>
    <dgm:cxn modelId="{3E83798F-0A47-49B8-BBB1-9BFF5181AA53}" type="presParOf" srcId="{4426CF34-B5DB-4393-89A3-8619B76C044C}" destId="{F307ED7C-491B-4B8C-9D70-97913F943E95}" srcOrd="6" destOrd="0" presId="urn:microsoft.com/office/officeart/2005/8/layout/process5"/>
    <dgm:cxn modelId="{F8D1C01E-2015-4CCE-A274-8A91BC376D3B}" type="presParOf" srcId="{4426CF34-B5DB-4393-89A3-8619B76C044C}" destId="{201014B3-767D-4F36-B51A-E1043F84D5C7}" srcOrd="7" destOrd="0" presId="urn:microsoft.com/office/officeart/2005/8/layout/process5"/>
    <dgm:cxn modelId="{8EF57BFB-FF71-493C-90FD-855722000C62}" type="presParOf" srcId="{201014B3-767D-4F36-B51A-E1043F84D5C7}" destId="{26C19205-E153-4907-983F-7F1286BA0585}" srcOrd="0" destOrd="0" presId="urn:microsoft.com/office/officeart/2005/8/layout/process5"/>
    <dgm:cxn modelId="{E0BA2850-7F69-43D0-92B8-9163325179AD}" type="presParOf" srcId="{4426CF34-B5DB-4393-89A3-8619B76C044C}" destId="{1C4B3FB6-6EA0-441A-AE6F-5F8345203816}" srcOrd="8" destOrd="0" presId="urn:microsoft.com/office/officeart/2005/8/layout/process5"/>
    <dgm:cxn modelId="{B41C2A19-9C64-4BB4-834A-71452A26B909}" type="presParOf" srcId="{4426CF34-B5DB-4393-89A3-8619B76C044C}" destId="{0777B376-F3CE-4159-A6CF-77060AF5126C}" srcOrd="9" destOrd="0" presId="urn:microsoft.com/office/officeart/2005/8/layout/process5"/>
    <dgm:cxn modelId="{381CD146-9A39-4734-A413-168866287995}" type="presParOf" srcId="{0777B376-F3CE-4159-A6CF-77060AF5126C}" destId="{FB971F5B-D6AF-4904-852F-641041DE7A0F}" srcOrd="0" destOrd="0" presId="urn:microsoft.com/office/officeart/2005/8/layout/process5"/>
    <dgm:cxn modelId="{4B279619-C75D-4889-AB4A-B387C022A128}" type="presParOf" srcId="{4426CF34-B5DB-4393-89A3-8619B76C044C}" destId="{CF9DFC08-457A-47A2-A18C-F6F9FCDB4468}" srcOrd="1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07CD874-79CF-49E4-8D40-5593AA0DF0BB}" type="doc">
      <dgm:prSet loTypeId="urn:microsoft.com/office/officeart/2005/8/layout/process5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6FDA9F75-6B41-4FD2-A692-CF7313427733}">
      <dgm:prSet phldrT="[Text]" custT="1"/>
      <dgm:spPr/>
      <dgm:t>
        <a:bodyPr/>
        <a:lstStyle/>
        <a:p>
          <a:r>
            <a:rPr lang="nb-NO" sz="1000" b="0" i="0" u="none" dirty="0"/>
            <a:t>Etablere felles mål</a:t>
          </a:r>
          <a:endParaRPr lang="en-US" sz="1000" dirty="0"/>
        </a:p>
      </dgm:t>
    </dgm:pt>
    <dgm:pt modelId="{9941A9AA-E8C8-4774-8016-3B5B301D7541}" type="parTrans" cxnId="{CB8A14A6-2098-43FA-9427-956610E8EC14}">
      <dgm:prSet/>
      <dgm:spPr/>
      <dgm:t>
        <a:bodyPr/>
        <a:lstStyle/>
        <a:p>
          <a:endParaRPr lang="en-US" sz="1200"/>
        </a:p>
      </dgm:t>
    </dgm:pt>
    <dgm:pt modelId="{309A82A4-79E8-42AE-B9E4-E4639750C58A}" type="sibTrans" cxnId="{CB8A14A6-2098-43FA-9427-956610E8EC14}">
      <dgm:prSet custT="1"/>
      <dgm:spPr/>
      <dgm:t>
        <a:bodyPr/>
        <a:lstStyle/>
        <a:p>
          <a:endParaRPr lang="en-US" sz="600"/>
        </a:p>
      </dgm:t>
    </dgm:pt>
    <dgm:pt modelId="{E471609C-0154-4EBA-9216-1775D585D15C}">
      <dgm:prSet custT="1"/>
      <dgm:spPr/>
      <dgm:t>
        <a:bodyPr/>
        <a:lstStyle/>
        <a:p>
          <a:pPr rtl="0"/>
          <a:r>
            <a:rPr lang="nb-NO" sz="1000" b="0" i="0" u="none" dirty="0"/>
            <a:t>Kvalitetssikre programnotat</a:t>
          </a:r>
        </a:p>
      </dgm:t>
    </dgm:pt>
    <dgm:pt modelId="{D14F0BB0-7BB3-42F5-B6F7-68541BDD03DC}" type="parTrans" cxnId="{DEB3AB2E-BD1C-4CFE-B08D-559474CE0D73}">
      <dgm:prSet/>
      <dgm:spPr/>
      <dgm:t>
        <a:bodyPr/>
        <a:lstStyle/>
        <a:p>
          <a:endParaRPr lang="en-US"/>
        </a:p>
      </dgm:t>
    </dgm:pt>
    <dgm:pt modelId="{B24D3FA3-4262-4C68-8E92-332B815AEEDF}" type="sibTrans" cxnId="{DEB3AB2E-BD1C-4CFE-B08D-559474CE0D73}">
      <dgm:prSet/>
      <dgm:spPr/>
      <dgm:t>
        <a:bodyPr/>
        <a:lstStyle/>
        <a:p>
          <a:endParaRPr lang="en-US"/>
        </a:p>
      </dgm:t>
    </dgm:pt>
    <dgm:pt modelId="{79F5DE75-599C-4A38-ACB5-7BA75BAFE6E6}">
      <dgm:prSet custT="1"/>
      <dgm:spPr/>
      <dgm:t>
        <a:bodyPr/>
        <a:lstStyle/>
        <a:p>
          <a:pPr rtl="0"/>
          <a:r>
            <a:rPr lang="nb-NO" sz="1000" b="0" i="0" u="none" dirty="0"/>
            <a:t>Tenke bruk av lokaler (</a:t>
          </a:r>
          <a:r>
            <a:rPr lang="nb-NO" sz="1000" b="0" i="0" u="none" dirty="0" err="1"/>
            <a:t>romplan</a:t>
          </a:r>
          <a:r>
            <a:rPr lang="nb-NO" sz="1000" b="0" i="0" u="none" dirty="0"/>
            <a:t>)</a:t>
          </a:r>
        </a:p>
      </dgm:t>
    </dgm:pt>
    <dgm:pt modelId="{663ACD5D-05DA-4DB6-BE9A-B10D898BEC46}" type="parTrans" cxnId="{64197A70-2BEF-4D89-B22C-11ED0D1611F7}">
      <dgm:prSet/>
      <dgm:spPr/>
      <dgm:t>
        <a:bodyPr/>
        <a:lstStyle/>
        <a:p>
          <a:endParaRPr lang="en-US"/>
        </a:p>
      </dgm:t>
    </dgm:pt>
    <dgm:pt modelId="{26698D22-B55D-4794-B2B8-879581FAA0E6}" type="sibTrans" cxnId="{64197A70-2BEF-4D89-B22C-11ED0D1611F7}">
      <dgm:prSet/>
      <dgm:spPr/>
      <dgm:t>
        <a:bodyPr/>
        <a:lstStyle/>
        <a:p>
          <a:endParaRPr lang="en-US"/>
        </a:p>
      </dgm:t>
    </dgm:pt>
    <dgm:pt modelId="{06CEE893-C434-4404-BAA0-F8A7A0790E9C}">
      <dgm:prSet custT="1"/>
      <dgm:spPr/>
      <dgm:t>
        <a:bodyPr/>
        <a:lstStyle/>
        <a:p>
          <a:pPr rtl="0"/>
          <a:r>
            <a:rPr lang="nb-NO" sz="1000" b="0" i="0" u="none" dirty="0"/>
            <a:t>Konkretisere og detaljere planer og bygg</a:t>
          </a:r>
        </a:p>
      </dgm:t>
    </dgm:pt>
    <dgm:pt modelId="{D120DCF8-DC4B-4B52-81D6-B7862743FA12}" type="parTrans" cxnId="{BE3A5E63-6FAB-43EE-998D-E24D51F82CDA}">
      <dgm:prSet/>
      <dgm:spPr/>
      <dgm:t>
        <a:bodyPr/>
        <a:lstStyle/>
        <a:p>
          <a:endParaRPr lang="en-US"/>
        </a:p>
      </dgm:t>
    </dgm:pt>
    <dgm:pt modelId="{5890DF2F-984B-42F9-B7C4-87EBB401B234}" type="sibTrans" cxnId="{BE3A5E63-6FAB-43EE-998D-E24D51F82CDA}">
      <dgm:prSet/>
      <dgm:spPr/>
      <dgm:t>
        <a:bodyPr/>
        <a:lstStyle/>
        <a:p>
          <a:endParaRPr lang="en-US"/>
        </a:p>
      </dgm:t>
    </dgm:pt>
    <dgm:pt modelId="{D383A13F-1377-48E6-9830-2B8323C278ED}">
      <dgm:prSet custT="1"/>
      <dgm:spPr/>
      <dgm:t>
        <a:bodyPr/>
        <a:lstStyle/>
        <a:p>
          <a:pPr rtl="0"/>
          <a:r>
            <a:rPr lang="nb-NO" sz="1000" b="0" i="0" u="none" dirty="0"/>
            <a:t>Flytting</a:t>
          </a:r>
          <a:r>
            <a:rPr lang="nb-NO" sz="1000" b="0" i="0" u="none" baseline="0" dirty="0"/>
            <a:t> og overtaking</a:t>
          </a:r>
          <a:endParaRPr lang="nb-NO" sz="1000" b="0" i="0" u="none" dirty="0"/>
        </a:p>
      </dgm:t>
    </dgm:pt>
    <dgm:pt modelId="{2DFBC520-4213-4888-B2B5-CF75406100B8}" type="parTrans" cxnId="{4DD75787-A74A-4EC6-A8DE-FEEAC5BA5998}">
      <dgm:prSet/>
      <dgm:spPr/>
      <dgm:t>
        <a:bodyPr/>
        <a:lstStyle/>
        <a:p>
          <a:endParaRPr lang="en-US"/>
        </a:p>
      </dgm:t>
    </dgm:pt>
    <dgm:pt modelId="{81697DDC-C3DF-4F59-B45F-3AE2DC3095D1}" type="sibTrans" cxnId="{4DD75787-A74A-4EC6-A8DE-FEEAC5BA5998}">
      <dgm:prSet/>
      <dgm:spPr/>
      <dgm:t>
        <a:bodyPr/>
        <a:lstStyle/>
        <a:p>
          <a:endParaRPr lang="en-US"/>
        </a:p>
      </dgm:t>
    </dgm:pt>
    <dgm:pt modelId="{A4E1B584-9B9D-4304-87E3-4845073B7481}">
      <dgm:prSet custT="1"/>
      <dgm:spPr/>
      <dgm:t>
        <a:bodyPr/>
        <a:lstStyle/>
        <a:p>
          <a:pPr rtl="0"/>
          <a:r>
            <a:rPr lang="nb-NO" sz="1000" b="0" i="0" u="none" dirty="0"/>
            <a:t>Planlegge organisering i samlokalisert bygg</a:t>
          </a:r>
        </a:p>
      </dgm:t>
    </dgm:pt>
    <dgm:pt modelId="{8D417958-B32A-488A-BD40-6B55DACF445C}" type="sibTrans" cxnId="{1C778F9B-678B-448D-90CE-3ADBBE22EC03}">
      <dgm:prSet/>
      <dgm:spPr/>
      <dgm:t>
        <a:bodyPr/>
        <a:lstStyle/>
        <a:p>
          <a:endParaRPr lang="en-US"/>
        </a:p>
      </dgm:t>
    </dgm:pt>
    <dgm:pt modelId="{E947CEFA-3210-465A-A8D4-30160F80AFAB}" type="parTrans" cxnId="{1C778F9B-678B-448D-90CE-3ADBBE22EC03}">
      <dgm:prSet/>
      <dgm:spPr/>
      <dgm:t>
        <a:bodyPr/>
        <a:lstStyle/>
        <a:p>
          <a:endParaRPr lang="en-US"/>
        </a:p>
      </dgm:t>
    </dgm:pt>
    <dgm:pt modelId="{4426CF34-B5DB-4393-89A3-8619B76C044C}" type="pres">
      <dgm:prSet presAssocID="{607CD874-79CF-49E4-8D40-5593AA0DF0BB}" presName="diagram" presStyleCnt="0">
        <dgm:presLayoutVars>
          <dgm:dir/>
          <dgm:resizeHandles val="exact"/>
        </dgm:presLayoutVars>
      </dgm:prSet>
      <dgm:spPr/>
    </dgm:pt>
    <dgm:pt modelId="{AFA700C3-3F91-4E53-84A0-F3F5C201B955}" type="pres">
      <dgm:prSet presAssocID="{6FDA9F75-6B41-4FD2-A692-CF7313427733}" presName="node" presStyleLbl="node1" presStyleIdx="0" presStyleCnt="6" custScaleY="123244">
        <dgm:presLayoutVars>
          <dgm:bulletEnabled val="1"/>
        </dgm:presLayoutVars>
      </dgm:prSet>
      <dgm:spPr/>
    </dgm:pt>
    <dgm:pt modelId="{F49D5A9C-F191-4877-B1CF-C681116C713E}" type="pres">
      <dgm:prSet presAssocID="{309A82A4-79E8-42AE-B9E4-E4639750C58A}" presName="sibTrans" presStyleLbl="sibTrans2D1" presStyleIdx="0" presStyleCnt="5"/>
      <dgm:spPr/>
    </dgm:pt>
    <dgm:pt modelId="{26335D79-BFFA-4D30-A164-627C35279034}" type="pres">
      <dgm:prSet presAssocID="{309A82A4-79E8-42AE-B9E4-E4639750C58A}" presName="connectorText" presStyleLbl="sibTrans2D1" presStyleIdx="0" presStyleCnt="5"/>
      <dgm:spPr/>
    </dgm:pt>
    <dgm:pt modelId="{FAD6D29F-B99E-4D8E-809C-33334CD0C201}" type="pres">
      <dgm:prSet presAssocID="{E471609C-0154-4EBA-9216-1775D585D15C}" presName="node" presStyleLbl="node1" presStyleIdx="1" presStyleCnt="6" custScaleY="123244">
        <dgm:presLayoutVars>
          <dgm:bulletEnabled val="1"/>
        </dgm:presLayoutVars>
      </dgm:prSet>
      <dgm:spPr/>
    </dgm:pt>
    <dgm:pt modelId="{E104A4B6-1305-4460-BFE9-9672018026A9}" type="pres">
      <dgm:prSet presAssocID="{B24D3FA3-4262-4C68-8E92-332B815AEEDF}" presName="sibTrans" presStyleLbl="sibTrans2D1" presStyleIdx="1" presStyleCnt="5"/>
      <dgm:spPr/>
    </dgm:pt>
    <dgm:pt modelId="{A7A56654-C1B6-4192-8165-C6C1C2E3B42C}" type="pres">
      <dgm:prSet presAssocID="{B24D3FA3-4262-4C68-8E92-332B815AEEDF}" presName="connectorText" presStyleLbl="sibTrans2D1" presStyleIdx="1" presStyleCnt="5"/>
      <dgm:spPr/>
    </dgm:pt>
    <dgm:pt modelId="{668925EA-FD0A-4512-BF0C-252404E06726}" type="pres">
      <dgm:prSet presAssocID="{79F5DE75-599C-4A38-ACB5-7BA75BAFE6E6}" presName="node" presStyleLbl="node1" presStyleIdx="2" presStyleCnt="6" custScaleY="123244">
        <dgm:presLayoutVars>
          <dgm:bulletEnabled val="1"/>
        </dgm:presLayoutVars>
      </dgm:prSet>
      <dgm:spPr/>
    </dgm:pt>
    <dgm:pt modelId="{8217EEDE-1BBE-4040-AE87-D29D30649AAA}" type="pres">
      <dgm:prSet presAssocID="{26698D22-B55D-4794-B2B8-879581FAA0E6}" presName="sibTrans" presStyleLbl="sibTrans2D1" presStyleIdx="2" presStyleCnt="5"/>
      <dgm:spPr/>
    </dgm:pt>
    <dgm:pt modelId="{2937F38A-4548-49C9-BC89-A22C9CD0E862}" type="pres">
      <dgm:prSet presAssocID="{26698D22-B55D-4794-B2B8-879581FAA0E6}" presName="connectorText" presStyleLbl="sibTrans2D1" presStyleIdx="2" presStyleCnt="5"/>
      <dgm:spPr/>
    </dgm:pt>
    <dgm:pt modelId="{7675A57E-425E-4C73-9AA9-1A3F31FA0CD0}" type="pres">
      <dgm:prSet presAssocID="{06CEE893-C434-4404-BAA0-F8A7A0790E9C}" presName="node" presStyleLbl="node1" presStyleIdx="3" presStyleCnt="6" custScaleY="123244">
        <dgm:presLayoutVars>
          <dgm:bulletEnabled val="1"/>
        </dgm:presLayoutVars>
      </dgm:prSet>
      <dgm:spPr/>
    </dgm:pt>
    <dgm:pt modelId="{22264DDC-9AF6-4CE8-9120-B807842FC42C}" type="pres">
      <dgm:prSet presAssocID="{5890DF2F-984B-42F9-B7C4-87EBB401B234}" presName="sibTrans" presStyleLbl="sibTrans2D1" presStyleIdx="3" presStyleCnt="5"/>
      <dgm:spPr/>
    </dgm:pt>
    <dgm:pt modelId="{36E2552A-FAEE-4080-B788-1F9587BF16D3}" type="pres">
      <dgm:prSet presAssocID="{5890DF2F-984B-42F9-B7C4-87EBB401B234}" presName="connectorText" presStyleLbl="sibTrans2D1" presStyleIdx="3" presStyleCnt="5"/>
      <dgm:spPr/>
    </dgm:pt>
    <dgm:pt modelId="{05135315-6E02-4947-A5CB-48BB5D18BF66}" type="pres">
      <dgm:prSet presAssocID="{A4E1B584-9B9D-4304-87E3-4845073B7481}" presName="node" presStyleLbl="node1" presStyleIdx="4" presStyleCnt="6" custScaleY="123244">
        <dgm:presLayoutVars>
          <dgm:bulletEnabled val="1"/>
        </dgm:presLayoutVars>
      </dgm:prSet>
      <dgm:spPr/>
    </dgm:pt>
    <dgm:pt modelId="{C53DEECF-53BE-426B-B785-EDAE8F247ED1}" type="pres">
      <dgm:prSet presAssocID="{8D417958-B32A-488A-BD40-6B55DACF445C}" presName="sibTrans" presStyleLbl="sibTrans2D1" presStyleIdx="4" presStyleCnt="5"/>
      <dgm:spPr/>
    </dgm:pt>
    <dgm:pt modelId="{3302A79F-3DB5-4E6B-A2CF-2217519FBF96}" type="pres">
      <dgm:prSet presAssocID="{8D417958-B32A-488A-BD40-6B55DACF445C}" presName="connectorText" presStyleLbl="sibTrans2D1" presStyleIdx="4" presStyleCnt="5"/>
      <dgm:spPr/>
    </dgm:pt>
    <dgm:pt modelId="{25C54F3B-E822-4F99-99E9-F72CE92BB0D1}" type="pres">
      <dgm:prSet presAssocID="{D383A13F-1377-48E6-9830-2B8323C278ED}" presName="node" presStyleLbl="node1" presStyleIdx="5" presStyleCnt="6" custScaleY="123244">
        <dgm:presLayoutVars>
          <dgm:bulletEnabled val="1"/>
        </dgm:presLayoutVars>
      </dgm:prSet>
      <dgm:spPr/>
    </dgm:pt>
  </dgm:ptLst>
  <dgm:cxnLst>
    <dgm:cxn modelId="{F188A703-169F-4D32-B1CA-A46189D280B3}" type="presOf" srcId="{5890DF2F-984B-42F9-B7C4-87EBB401B234}" destId="{36E2552A-FAEE-4080-B788-1F9587BF16D3}" srcOrd="1" destOrd="0" presId="urn:microsoft.com/office/officeart/2005/8/layout/process5"/>
    <dgm:cxn modelId="{B6AEDD1B-DE34-4EC2-AF69-920C2DE47D36}" type="presOf" srcId="{607CD874-79CF-49E4-8D40-5593AA0DF0BB}" destId="{4426CF34-B5DB-4393-89A3-8619B76C044C}" srcOrd="0" destOrd="0" presId="urn:microsoft.com/office/officeart/2005/8/layout/process5"/>
    <dgm:cxn modelId="{EB8BD227-74B7-498D-AFC4-9BF151FFC1DB}" type="presOf" srcId="{309A82A4-79E8-42AE-B9E4-E4639750C58A}" destId="{26335D79-BFFA-4D30-A164-627C35279034}" srcOrd="1" destOrd="0" presId="urn:microsoft.com/office/officeart/2005/8/layout/process5"/>
    <dgm:cxn modelId="{ABF78728-2CD8-43A9-B0F6-F05AB2DB5857}" type="presOf" srcId="{79F5DE75-599C-4A38-ACB5-7BA75BAFE6E6}" destId="{668925EA-FD0A-4512-BF0C-252404E06726}" srcOrd="0" destOrd="0" presId="urn:microsoft.com/office/officeart/2005/8/layout/process5"/>
    <dgm:cxn modelId="{DEB3AB2E-BD1C-4CFE-B08D-559474CE0D73}" srcId="{607CD874-79CF-49E4-8D40-5593AA0DF0BB}" destId="{E471609C-0154-4EBA-9216-1775D585D15C}" srcOrd="1" destOrd="0" parTransId="{D14F0BB0-7BB3-42F5-B6F7-68541BDD03DC}" sibTransId="{B24D3FA3-4262-4C68-8E92-332B815AEEDF}"/>
    <dgm:cxn modelId="{BE3A5E63-6FAB-43EE-998D-E24D51F82CDA}" srcId="{607CD874-79CF-49E4-8D40-5593AA0DF0BB}" destId="{06CEE893-C434-4404-BAA0-F8A7A0790E9C}" srcOrd="3" destOrd="0" parTransId="{D120DCF8-DC4B-4B52-81D6-B7862743FA12}" sibTransId="{5890DF2F-984B-42F9-B7C4-87EBB401B234}"/>
    <dgm:cxn modelId="{E9FE3644-C0C5-48F5-9D0E-5F09ADB854E2}" type="presOf" srcId="{26698D22-B55D-4794-B2B8-879581FAA0E6}" destId="{2937F38A-4548-49C9-BC89-A22C9CD0E862}" srcOrd="1" destOrd="0" presId="urn:microsoft.com/office/officeart/2005/8/layout/process5"/>
    <dgm:cxn modelId="{E747D466-722C-4B1E-8A10-12C717E61746}" type="presOf" srcId="{B24D3FA3-4262-4C68-8E92-332B815AEEDF}" destId="{A7A56654-C1B6-4192-8165-C6C1C2E3B42C}" srcOrd="1" destOrd="0" presId="urn:microsoft.com/office/officeart/2005/8/layout/process5"/>
    <dgm:cxn modelId="{64197A70-2BEF-4D89-B22C-11ED0D1611F7}" srcId="{607CD874-79CF-49E4-8D40-5593AA0DF0BB}" destId="{79F5DE75-599C-4A38-ACB5-7BA75BAFE6E6}" srcOrd="2" destOrd="0" parTransId="{663ACD5D-05DA-4DB6-BE9A-B10D898BEC46}" sibTransId="{26698D22-B55D-4794-B2B8-879581FAA0E6}"/>
    <dgm:cxn modelId="{4AF1CF70-734A-4C30-A48D-CCD1AE84A204}" type="presOf" srcId="{8D417958-B32A-488A-BD40-6B55DACF445C}" destId="{3302A79F-3DB5-4E6B-A2CF-2217519FBF96}" srcOrd="1" destOrd="0" presId="urn:microsoft.com/office/officeart/2005/8/layout/process5"/>
    <dgm:cxn modelId="{7F86BD51-A62A-4A26-97D8-811769E4EE69}" type="presOf" srcId="{D383A13F-1377-48E6-9830-2B8323C278ED}" destId="{25C54F3B-E822-4F99-99E9-F72CE92BB0D1}" srcOrd="0" destOrd="0" presId="urn:microsoft.com/office/officeart/2005/8/layout/process5"/>
    <dgm:cxn modelId="{366A1772-8485-4663-A758-67931ECCEA36}" type="presOf" srcId="{5890DF2F-984B-42F9-B7C4-87EBB401B234}" destId="{22264DDC-9AF6-4CE8-9120-B807842FC42C}" srcOrd="0" destOrd="0" presId="urn:microsoft.com/office/officeart/2005/8/layout/process5"/>
    <dgm:cxn modelId="{FB692676-4D6F-458F-8B90-8AF31341B107}" type="presOf" srcId="{06CEE893-C434-4404-BAA0-F8A7A0790E9C}" destId="{7675A57E-425E-4C73-9AA9-1A3F31FA0CD0}" srcOrd="0" destOrd="0" presId="urn:microsoft.com/office/officeart/2005/8/layout/process5"/>
    <dgm:cxn modelId="{4DD75787-A74A-4EC6-A8DE-FEEAC5BA5998}" srcId="{607CD874-79CF-49E4-8D40-5593AA0DF0BB}" destId="{D383A13F-1377-48E6-9830-2B8323C278ED}" srcOrd="5" destOrd="0" parTransId="{2DFBC520-4213-4888-B2B5-CF75406100B8}" sibTransId="{81697DDC-C3DF-4F59-B45F-3AE2DC3095D1}"/>
    <dgm:cxn modelId="{FD6DB488-F1E1-444E-BCB7-AE1CF6A44F88}" type="presOf" srcId="{A4E1B584-9B9D-4304-87E3-4845073B7481}" destId="{05135315-6E02-4947-A5CB-48BB5D18BF66}" srcOrd="0" destOrd="0" presId="urn:microsoft.com/office/officeart/2005/8/layout/process5"/>
    <dgm:cxn modelId="{1700548D-72E0-46AD-BED8-31116327CF9C}" type="presOf" srcId="{B24D3FA3-4262-4C68-8E92-332B815AEEDF}" destId="{E104A4B6-1305-4460-BFE9-9672018026A9}" srcOrd="0" destOrd="0" presId="urn:microsoft.com/office/officeart/2005/8/layout/process5"/>
    <dgm:cxn modelId="{181A2292-98BF-4EA4-A4FA-B46D7F3A25CC}" type="presOf" srcId="{309A82A4-79E8-42AE-B9E4-E4639750C58A}" destId="{F49D5A9C-F191-4877-B1CF-C681116C713E}" srcOrd="0" destOrd="0" presId="urn:microsoft.com/office/officeart/2005/8/layout/process5"/>
    <dgm:cxn modelId="{F137BA9A-CF5F-4F41-B6F1-8DBCD6C4D698}" type="presOf" srcId="{6FDA9F75-6B41-4FD2-A692-CF7313427733}" destId="{AFA700C3-3F91-4E53-84A0-F3F5C201B955}" srcOrd="0" destOrd="0" presId="urn:microsoft.com/office/officeart/2005/8/layout/process5"/>
    <dgm:cxn modelId="{1C778F9B-678B-448D-90CE-3ADBBE22EC03}" srcId="{607CD874-79CF-49E4-8D40-5593AA0DF0BB}" destId="{A4E1B584-9B9D-4304-87E3-4845073B7481}" srcOrd="4" destOrd="0" parTransId="{E947CEFA-3210-465A-A8D4-30160F80AFAB}" sibTransId="{8D417958-B32A-488A-BD40-6B55DACF445C}"/>
    <dgm:cxn modelId="{CB8A14A6-2098-43FA-9427-956610E8EC14}" srcId="{607CD874-79CF-49E4-8D40-5593AA0DF0BB}" destId="{6FDA9F75-6B41-4FD2-A692-CF7313427733}" srcOrd="0" destOrd="0" parTransId="{9941A9AA-E8C8-4774-8016-3B5B301D7541}" sibTransId="{309A82A4-79E8-42AE-B9E4-E4639750C58A}"/>
    <dgm:cxn modelId="{4CB191CB-9388-4576-8125-935996360FBF}" type="presOf" srcId="{26698D22-B55D-4794-B2B8-879581FAA0E6}" destId="{8217EEDE-1BBE-4040-AE87-D29D30649AAA}" srcOrd="0" destOrd="0" presId="urn:microsoft.com/office/officeart/2005/8/layout/process5"/>
    <dgm:cxn modelId="{D94478CD-7666-4A58-8B1A-92C4DD575621}" type="presOf" srcId="{E471609C-0154-4EBA-9216-1775D585D15C}" destId="{FAD6D29F-B99E-4D8E-809C-33334CD0C201}" srcOrd="0" destOrd="0" presId="urn:microsoft.com/office/officeart/2005/8/layout/process5"/>
    <dgm:cxn modelId="{769C0AFC-1BEC-40F7-9A37-72E5CEB9342E}" type="presOf" srcId="{8D417958-B32A-488A-BD40-6B55DACF445C}" destId="{C53DEECF-53BE-426B-B785-EDAE8F247ED1}" srcOrd="0" destOrd="0" presId="urn:microsoft.com/office/officeart/2005/8/layout/process5"/>
    <dgm:cxn modelId="{DE3862FE-58A2-4229-8601-700A9ECB98D1}" type="presParOf" srcId="{4426CF34-B5DB-4393-89A3-8619B76C044C}" destId="{AFA700C3-3F91-4E53-84A0-F3F5C201B955}" srcOrd="0" destOrd="0" presId="urn:microsoft.com/office/officeart/2005/8/layout/process5"/>
    <dgm:cxn modelId="{8FAC2348-A5E8-42EC-B9E6-C0021DF8DC66}" type="presParOf" srcId="{4426CF34-B5DB-4393-89A3-8619B76C044C}" destId="{F49D5A9C-F191-4877-B1CF-C681116C713E}" srcOrd="1" destOrd="0" presId="urn:microsoft.com/office/officeart/2005/8/layout/process5"/>
    <dgm:cxn modelId="{5E2E3DE9-DFD1-427E-A80F-3F42FB7430E2}" type="presParOf" srcId="{F49D5A9C-F191-4877-B1CF-C681116C713E}" destId="{26335D79-BFFA-4D30-A164-627C35279034}" srcOrd="0" destOrd="0" presId="urn:microsoft.com/office/officeart/2005/8/layout/process5"/>
    <dgm:cxn modelId="{2BB12AFC-1FAD-4418-97BA-13ED41D4650E}" type="presParOf" srcId="{4426CF34-B5DB-4393-89A3-8619B76C044C}" destId="{FAD6D29F-B99E-4D8E-809C-33334CD0C201}" srcOrd="2" destOrd="0" presId="urn:microsoft.com/office/officeart/2005/8/layout/process5"/>
    <dgm:cxn modelId="{D7C2CE07-E352-40E4-86C3-032D906342D1}" type="presParOf" srcId="{4426CF34-B5DB-4393-89A3-8619B76C044C}" destId="{E104A4B6-1305-4460-BFE9-9672018026A9}" srcOrd="3" destOrd="0" presId="urn:microsoft.com/office/officeart/2005/8/layout/process5"/>
    <dgm:cxn modelId="{E8A75987-9362-48CF-9F6E-53E08B1EEFB8}" type="presParOf" srcId="{E104A4B6-1305-4460-BFE9-9672018026A9}" destId="{A7A56654-C1B6-4192-8165-C6C1C2E3B42C}" srcOrd="0" destOrd="0" presId="urn:microsoft.com/office/officeart/2005/8/layout/process5"/>
    <dgm:cxn modelId="{650E17E7-94E2-4E75-B410-8D77205C79B9}" type="presParOf" srcId="{4426CF34-B5DB-4393-89A3-8619B76C044C}" destId="{668925EA-FD0A-4512-BF0C-252404E06726}" srcOrd="4" destOrd="0" presId="urn:microsoft.com/office/officeart/2005/8/layout/process5"/>
    <dgm:cxn modelId="{E6ED77AE-C4AD-4135-83FA-DFE1A7FC414F}" type="presParOf" srcId="{4426CF34-B5DB-4393-89A3-8619B76C044C}" destId="{8217EEDE-1BBE-4040-AE87-D29D30649AAA}" srcOrd="5" destOrd="0" presId="urn:microsoft.com/office/officeart/2005/8/layout/process5"/>
    <dgm:cxn modelId="{B50A1F6B-DF49-40AB-B8D3-80C887DC213D}" type="presParOf" srcId="{8217EEDE-1BBE-4040-AE87-D29D30649AAA}" destId="{2937F38A-4548-49C9-BC89-A22C9CD0E862}" srcOrd="0" destOrd="0" presId="urn:microsoft.com/office/officeart/2005/8/layout/process5"/>
    <dgm:cxn modelId="{C2590970-41C8-4694-9CF1-279302343C26}" type="presParOf" srcId="{4426CF34-B5DB-4393-89A3-8619B76C044C}" destId="{7675A57E-425E-4C73-9AA9-1A3F31FA0CD0}" srcOrd="6" destOrd="0" presId="urn:microsoft.com/office/officeart/2005/8/layout/process5"/>
    <dgm:cxn modelId="{76D81BCB-FC5F-4EA7-B395-F44328D18DD2}" type="presParOf" srcId="{4426CF34-B5DB-4393-89A3-8619B76C044C}" destId="{22264DDC-9AF6-4CE8-9120-B807842FC42C}" srcOrd="7" destOrd="0" presId="urn:microsoft.com/office/officeart/2005/8/layout/process5"/>
    <dgm:cxn modelId="{67AF5B67-C61F-4268-B06D-81085081F07D}" type="presParOf" srcId="{22264DDC-9AF6-4CE8-9120-B807842FC42C}" destId="{36E2552A-FAEE-4080-B788-1F9587BF16D3}" srcOrd="0" destOrd="0" presId="urn:microsoft.com/office/officeart/2005/8/layout/process5"/>
    <dgm:cxn modelId="{B3E2435C-503F-4D0F-BE9F-7F4AA7523EC9}" type="presParOf" srcId="{4426CF34-B5DB-4393-89A3-8619B76C044C}" destId="{05135315-6E02-4947-A5CB-48BB5D18BF66}" srcOrd="8" destOrd="0" presId="urn:microsoft.com/office/officeart/2005/8/layout/process5"/>
    <dgm:cxn modelId="{91CDDBA9-E141-4BAB-8E3E-33468F03E158}" type="presParOf" srcId="{4426CF34-B5DB-4393-89A3-8619B76C044C}" destId="{C53DEECF-53BE-426B-B785-EDAE8F247ED1}" srcOrd="9" destOrd="0" presId="urn:microsoft.com/office/officeart/2005/8/layout/process5"/>
    <dgm:cxn modelId="{E2E92D64-3DAA-4620-BF44-45C18B640BC5}" type="presParOf" srcId="{C53DEECF-53BE-426B-B785-EDAE8F247ED1}" destId="{3302A79F-3DB5-4E6B-A2CF-2217519FBF96}" srcOrd="0" destOrd="0" presId="urn:microsoft.com/office/officeart/2005/8/layout/process5"/>
    <dgm:cxn modelId="{6AEFE4CB-0BF8-473B-9DB9-6D1185B081D5}" type="presParOf" srcId="{4426CF34-B5DB-4393-89A3-8619B76C044C}" destId="{25C54F3B-E822-4F99-99E9-F72CE92BB0D1}" srcOrd="1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A700C3-3F91-4E53-84A0-F3F5C201B955}">
      <dsp:nvSpPr>
        <dsp:cNvPr id="0" name=""/>
        <dsp:cNvSpPr/>
      </dsp:nvSpPr>
      <dsp:spPr>
        <a:xfrm>
          <a:off x="0" y="308960"/>
          <a:ext cx="849223" cy="107185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/>
            <a:t>Behov</a:t>
          </a:r>
          <a:endParaRPr lang="en-US" sz="1400" b="1" kern="1200" dirty="0"/>
        </a:p>
      </dsp:txBody>
      <dsp:txXfrm>
        <a:off x="24873" y="333833"/>
        <a:ext cx="799477" cy="1022109"/>
      </dsp:txXfrm>
    </dsp:sp>
    <dsp:sp modelId="{F49D5A9C-F191-4877-B1CF-C681116C713E}">
      <dsp:nvSpPr>
        <dsp:cNvPr id="0" name=""/>
        <dsp:cNvSpPr/>
      </dsp:nvSpPr>
      <dsp:spPr>
        <a:xfrm>
          <a:off x="923954" y="739584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923954" y="781705"/>
        <a:ext cx="126025" cy="126365"/>
      </dsp:txXfrm>
    </dsp:sp>
    <dsp:sp modelId="{B0B9A6A9-5AB1-4B04-BC45-56CFD2F6F993}">
      <dsp:nvSpPr>
        <dsp:cNvPr id="0" name=""/>
        <dsp:cNvSpPr/>
      </dsp:nvSpPr>
      <dsp:spPr>
        <a:xfrm>
          <a:off x="1188912" y="308960"/>
          <a:ext cx="849223" cy="1071855"/>
        </a:xfrm>
        <a:prstGeom prst="roundRect">
          <a:avLst>
            <a:gd name="adj" fmla="val 10000"/>
          </a:avLst>
        </a:prstGeom>
        <a:solidFill>
          <a:schemeClr val="accent3">
            <a:hueOff val="2250053"/>
            <a:satOff val="-3376"/>
            <a:lumOff val="-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/>
            <a:t>Konsept-utvikling</a:t>
          </a:r>
          <a:endParaRPr lang="en-US" sz="1400" b="1" kern="1200" dirty="0"/>
        </a:p>
      </dsp:txBody>
      <dsp:txXfrm>
        <a:off x="1213785" y="333833"/>
        <a:ext cx="799477" cy="1022109"/>
      </dsp:txXfrm>
    </dsp:sp>
    <dsp:sp modelId="{7CB5C6AA-B96B-4284-817C-E74E434D8FAC}">
      <dsp:nvSpPr>
        <dsp:cNvPr id="0" name=""/>
        <dsp:cNvSpPr/>
      </dsp:nvSpPr>
      <dsp:spPr>
        <a:xfrm>
          <a:off x="2112866" y="739584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2812566"/>
            <a:satOff val="-4220"/>
            <a:lumOff val="-68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2112866" y="781705"/>
        <a:ext cx="126025" cy="126365"/>
      </dsp:txXfrm>
    </dsp:sp>
    <dsp:sp modelId="{94A935B8-C599-4362-83C5-3D3121B4C862}">
      <dsp:nvSpPr>
        <dsp:cNvPr id="0" name=""/>
        <dsp:cNvSpPr/>
      </dsp:nvSpPr>
      <dsp:spPr>
        <a:xfrm>
          <a:off x="2377824" y="308960"/>
          <a:ext cx="849223" cy="1071855"/>
        </a:xfrm>
        <a:prstGeom prst="roundRect">
          <a:avLst>
            <a:gd name="adj" fmla="val 10000"/>
          </a:avLst>
        </a:prstGeom>
        <a:solidFill>
          <a:schemeClr val="accent3">
            <a:hueOff val="4500106"/>
            <a:satOff val="-6752"/>
            <a:lumOff val="-10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/>
            <a:t>Konsept-bearbeid-ing</a:t>
          </a:r>
          <a:endParaRPr lang="en-US" sz="1400" b="1" kern="1200" dirty="0"/>
        </a:p>
      </dsp:txBody>
      <dsp:txXfrm>
        <a:off x="2402697" y="333833"/>
        <a:ext cx="799477" cy="1022109"/>
      </dsp:txXfrm>
    </dsp:sp>
    <dsp:sp modelId="{AC24E9AF-1DA8-49F3-9454-4357435F4497}">
      <dsp:nvSpPr>
        <dsp:cNvPr id="0" name=""/>
        <dsp:cNvSpPr/>
      </dsp:nvSpPr>
      <dsp:spPr>
        <a:xfrm>
          <a:off x="3301779" y="739584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3301779" y="781705"/>
        <a:ext cx="126025" cy="126365"/>
      </dsp:txXfrm>
    </dsp:sp>
    <dsp:sp modelId="{F307ED7C-491B-4B8C-9D70-97913F943E95}">
      <dsp:nvSpPr>
        <dsp:cNvPr id="0" name=""/>
        <dsp:cNvSpPr/>
      </dsp:nvSpPr>
      <dsp:spPr>
        <a:xfrm>
          <a:off x="3566736" y="308960"/>
          <a:ext cx="849223" cy="1071855"/>
        </a:xfrm>
        <a:prstGeom prst="roundRect">
          <a:avLst>
            <a:gd name="adj" fmla="val 10000"/>
          </a:avLst>
        </a:prstGeom>
        <a:solidFill>
          <a:schemeClr val="accent3">
            <a:hueOff val="6750158"/>
            <a:satOff val="-10128"/>
            <a:lumOff val="-1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/>
            <a:t>Detalj-prosj-ektering</a:t>
          </a:r>
          <a:endParaRPr lang="en-US" sz="1400" b="1" kern="1200" dirty="0"/>
        </a:p>
      </dsp:txBody>
      <dsp:txXfrm>
        <a:off x="3591609" y="333833"/>
        <a:ext cx="799477" cy="1022109"/>
      </dsp:txXfrm>
    </dsp:sp>
    <dsp:sp modelId="{201014B3-767D-4F36-B51A-E1043F84D5C7}">
      <dsp:nvSpPr>
        <dsp:cNvPr id="0" name=""/>
        <dsp:cNvSpPr/>
      </dsp:nvSpPr>
      <dsp:spPr>
        <a:xfrm>
          <a:off x="4490691" y="739584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8437698"/>
            <a:satOff val="-12660"/>
            <a:lumOff val="-205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4490691" y="781705"/>
        <a:ext cx="126025" cy="126365"/>
      </dsp:txXfrm>
    </dsp:sp>
    <dsp:sp modelId="{1C4B3FB6-6EA0-441A-AE6F-5F8345203816}">
      <dsp:nvSpPr>
        <dsp:cNvPr id="0" name=""/>
        <dsp:cNvSpPr/>
      </dsp:nvSpPr>
      <dsp:spPr>
        <a:xfrm>
          <a:off x="4755648" y="308960"/>
          <a:ext cx="849223" cy="1071855"/>
        </a:xfrm>
        <a:prstGeom prst="roundRect">
          <a:avLst>
            <a:gd name="adj" fmla="val 10000"/>
          </a:avLst>
        </a:prstGeom>
        <a:solidFill>
          <a:schemeClr val="accent3">
            <a:hueOff val="9000211"/>
            <a:satOff val="-13504"/>
            <a:lumOff val="-219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/>
            <a:t>Produk-sjon</a:t>
          </a:r>
          <a:endParaRPr lang="en-US" sz="1400" b="1" kern="1200" dirty="0"/>
        </a:p>
      </dsp:txBody>
      <dsp:txXfrm>
        <a:off x="4780521" y="333833"/>
        <a:ext cx="799477" cy="1022109"/>
      </dsp:txXfrm>
    </dsp:sp>
    <dsp:sp modelId="{0777B376-F3CE-4159-A6CF-77060AF5126C}">
      <dsp:nvSpPr>
        <dsp:cNvPr id="0" name=""/>
        <dsp:cNvSpPr/>
      </dsp:nvSpPr>
      <dsp:spPr>
        <a:xfrm>
          <a:off x="5679603" y="739584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5679603" y="781705"/>
        <a:ext cx="126025" cy="126365"/>
      </dsp:txXfrm>
    </dsp:sp>
    <dsp:sp modelId="{CF9DFC08-457A-47A2-A18C-F6F9FCDB4468}">
      <dsp:nvSpPr>
        <dsp:cNvPr id="0" name=""/>
        <dsp:cNvSpPr/>
      </dsp:nvSpPr>
      <dsp:spPr>
        <a:xfrm>
          <a:off x="5944560" y="308960"/>
          <a:ext cx="849223" cy="1071855"/>
        </a:xfrm>
        <a:prstGeom prst="roundRect">
          <a:avLst>
            <a:gd name="adj" fmla="val 1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Over-levering/</a:t>
          </a:r>
          <a:r>
            <a:rPr lang="en-US" sz="1400" b="1" kern="1200" dirty="0" err="1"/>
            <a:t>bruk</a:t>
          </a:r>
          <a:endParaRPr lang="en-US" sz="1400" b="1" kern="1200" dirty="0"/>
        </a:p>
      </dsp:txBody>
      <dsp:txXfrm>
        <a:off x="5969433" y="333833"/>
        <a:ext cx="799477" cy="10221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A700C3-3F91-4E53-84A0-F3F5C201B955}">
      <dsp:nvSpPr>
        <dsp:cNvPr id="0" name=""/>
        <dsp:cNvSpPr/>
      </dsp:nvSpPr>
      <dsp:spPr>
        <a:xfrm>
          <a:off x="0" y="358029"/>
          <a:ext cx="849223" cy="62796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i="0" u="none" kern="1200" dirty="0"/>
            <a:t>Etablere felles mål</a:t>
          </a:r>
          <a:endParaRPr lang="en-US" sz="1000" kern="1200" dirty="0"/>
        </a:p>
      </dsp:txBody>
      <dsp:txXfrm>
        <a:off x="18393" y="376422"/>
        <a:ext cx="812437" cy="591183"/>
      </dsp:txXfrm>
    </dsp:sp>
    <dsp:sp modelId="{F49D5A9C-F191-4877-B1CF-C681116C713E}">
      <dsp:nvSpPr>
        <dsp:cNvPr id="0" name=""/>
        <dsp:cNvSpPr/>
      </dsp:nvSpPr>
      <dsp:spPr>
        <a:xfrm>
          <a:off x="923954" y="566710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923954" y="608831"/>
        <a:ext cx="126025" cy="126365"/>
      </dsp:txXfrm>
    </dsp:sp>
    <dsp:sp modelId="{FAD6D29F-B99E-4D8E-809C-33334CD0C201}">
      <dsp:nvSpPr>
        <dsp:cNvPr id="0" name=""/>
        <dsp:cNvSpPr/>
      </dsp:nvSpPr>
      <dsp:spPr>
        <a:xfrm>
          <a:off x="1188912" y="358029"/>
          <a:ext cx="849223" cy="627969"/>
        </a:xfrm>
        <a:prstGeom prst="roundRect">
          <a:avLst>
            <a:gd name="adj" fmla="val 10000"/>
          </a:avLst>
        </a:prstGeom>
        <a:solidFill>
          <a:schemeClr val="accent3">
            <a:hueOff val="2250053"/>
            <a:satOff val="-3376"/>
            <a:lumOff val="-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i="0" u="none" kern="1200" dirty="0"/>
            <a:t>Kvalitetssikre programnotat</a:t>
          </a:r>
        </a:p>
      </dsp:txBody>
      <dsp:txXfrm>
        <a:off x="1207305" y="376422"/>
        <a:ext cx="812437" cy="591183"/>
      </dsp:txXfrm>
    </dsp:sp>
    <dsp:sp modelId="{E104A4B6-1305-4460-BFE9-9672018026A9}">
      <dsp:nvSpPr>
        <dsp:cNvPr id="0" name=""/>
        <dsp:cNvSpPr/>
      </dsp:nvSpPr>
      <dsp:spPr>
        <a:xfrm>
          <a:off x="2112866" y="566710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2812566"/>
            <a:satOff val="-4220"/>
            <a:lumOff val="-68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2112866" y="608831"/>
        <a:ext cx="126025" cy="126365"/>
      </dsp:txXfrm>
    </dsp:sp>
    <dsp:sp modelId="{668925EA-FD0A-4512-BF0C-252404E06726}">
      <dsp:nvSpPr>
        <dsp:cNvPr id="0" name=""/>
        <dsp:cNvSpPr/>
      </dsp:nvSpPr>
      <dsp:spPr>
        <a:xfrm>
          <a:off x="2377824" y="358029"/>
          <a:ext cx="849223" cy="627969"/>
        </a:xfrm>
        <a:prstGeom prst="roundRect">
          <a:avLst>
            <a:gd name="adj" fmla="val 10000"/>
          </a:avLst>
        </a:prstGeom>
        <a:solidFill>
          <a:schemeClr val="accent3">
            <a:hueOff val="4500106"/>
            <a:satOff val="-6752"/>
            <a:lumOff val="-10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i="0" u="none" kern="1200" dirty="0"/>
            <a:t>Tenke bruk av lokaler (</a:t>
          </a:r>
          <a:r>
            <a:rPr lang="nb-NO" sz="1000" b="0" i="0" u="none" kern="1200" dirty="0" err="1"/>
            <a:t>romplan</a:t>
          </a:r>
          <a:r>
            <a:rPr lang="nb-NO" sz="1000" b="0" i="0" u="none" kern="1200" dirty="0"/>
            <a:t>)</a:t>
          </a:r>
        </a:p>
      </dsp:txBody>
      <dsp:txXfrm>
        <a:off x="2396217" y="376422"/>
        <a:ext cx="812437" cy="591183"/>
      </dsp:txXfrm>
    </dsp:sp>
    <dsp:sp modelId="{8217EEDE-1BBE-4040-AE87-D29D30649AAA}">
      <dsp:nvSpPr>
        <dsp:cNvPr id="0" name=""/>
        <dsp:cNvSpPr/>
      </dsp:nvSpPr>
      <dsp:spPr>
        <a:xfrm>
          <a:off x="3301779" y="566710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3301779" y="608831"/>
        <a:ext cx="126025" cy="126365"/>
      </dsp:txXfrm>
    </dsp:sp>
    <dsp:sp modelId="{7675A57E-425E-4C73-9AA9-1A3F31FA0CD0}">
      <dsp:nvSpPr>
        <dsp:cNvPr id="0" name=""/>
        <dsp:cNvSpPr/>
      </dsp:nvSpPr>
      <dsp:spPr>
        <a:xfrm>
          <a:off x="3566736" y="358029"/>
          <a:ext cx="849223" cy="627969"/>
        </a:xfrm>
        <a:prstGeom prst="roundRect">
          <a:avLst>
            <a:gd name="adj" fmla="val 10000"/>
          </a:avLst>
        </a:prstGeom>
        <a:solidFill>
          <a:schemeClr val="accent3">
            <a:hueOff val="6750158"/>
            <a:satOff val="-10128"/>
            <a:lumOff val="-1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i="0" u="none" kern="1200" dirty="0"/>
            <a:t>Konkretisere og detaljere planer og bygg</a:t>
          </a:r>
        </a:p>
      </dsp:txBody>
      <dsp:txXfrm>
        <a:off x="3585129" y="376422"/>
        <a:ext cx="812437" cy="591183"/>
      </dsp:txXfrm>
    </dsp:sp>
    <dsp:sp modelId="{22264DDC-9AF6-4CE8-9120-B807842FC42C}">
      <dsp:nvSpPr>
        <dsp:cNvPr id="0" name=""/>
        <dsp:cNvSpPr/>
      </dsp:nvSpPr>
      <dsp:spPr>
        <a:xfrm>
          <a:off x="4490691" y="566710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8437698"/>
            <a:satOff val="-12660"/>
            <a:lumOff val="-205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4490691" y="608831"/>
        <a:ext cx="126025" cy="126365"/>
      </dsp:txXfrm>
    </dsp:sp>
    <dsp:sp modelId="{05135315-6E02-4947-A5CB-48BB5D18BF66}">
      <dsp:nvSpPr>
        <dsp:cNvPr id="0" name=""/>
        <dsp:cNvSpPr/>
      </dsp:nvSpPr>
      <dsp:spPr>
        <a:xfrm>
          <a:off x="4755648" y="358029"/>
          <a:ext cx="849223" cy="627969"/>
        </a:xfrm>
        <a:prstGeom prst="roundRect">
          <a:avLst>
            <a:gd name="adj" fmla="val 10000"/>
          </a:avLst>
        </a:prstGeom>
        <a:solidFill>
          <a:schemeClr val="accent3">
            <a:hueOff val="9000211"/>
            <a:satOff val="-13504"/>
            <a:lumOff val="-219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i="0" u="none" kern="1200" dirty="0"/>
            <a:t>Planlegge organisering i samlokalisert bygg</a:t>
          </a:r>
        </a:p>
      </dsp:txBody>
      <dsp:txXfrm>
        <a:off x="4774041" y="376422"/>
        <a:ext cx="812437" cy="591183"/>
      </dsp:txXfrm>
    </dsp:sp>
    <dsp:sp modelId="{C53DEECF-53BE-426B-B785-EDAE8F247ED1}">
      <dsp:nvSpPr>
        <dsp:cNvPr id="0" name=""/>
        <dsp:cNvSpPr/>
      </dsp:nvSpPr>
      <dsp:spPr>
        <a:xfrm>
          <a:off x="5679603" y="566710"/>
          <a:ext cx="180035" cy="210607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5679603" y="608831"/>
        <a:ext cx="126025" cy="126365"/>
      </dsp:txXfrm>
    </dsp:sp>
    <dsp:sp modelId="{25C54F3B-E822-4F99-99E9-F72CE92BB0D1}">
      <dsp:nvSpPr>
        <dsp:cNvPr id="0" name=""/>
        <dsp:cNvSpPr/>
      </dsp:nvSpPr>
      <dsp:spPr>
        <a:xfrm>
          <a:off x="5944560" y="358029"/>
          <a:ext cx="849223" cy="627969"/>
        </a:xfrm>
        <a:prstGeom prst="roundRect">
          <a:avLst>
            <a:gd name="adj" fmla="val 1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i="0" u="none" kern="1200" dirty="0"/>
            <a:t>Flytting</a:t>
          </a:r>
          <a:r>
            <a:rPr lang="nb-NO" sz="1000" b="0" i="0" u="none" kern="1200" baseline="0" dirty="0"/>
            <a:t> og overtaking</a:t>
          </a:r>
          <a:endParaRPr lang="nb-NO" sz="1000" b="0" i="0" u="none" kern="1200" dirty="0"/>
        </a:p>
      </dsp:txBody>
      <dsp:txXfrm>
        <a:off x="5962953" y="376422"/>
        <a:ext cx="812437" cy="5911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107E30-335D-4C24-92A1-A7C83258735B}" type="datetimeFigureOut">
              <a:rPr lang="nb-NO" smtClean="0"/>
              <a:t>12.04.2018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A84624-3069-476C-BD50-E9669728062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29111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14753" y="2008061"/>
            <a:ext cx="7772400" cy="675821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14753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1017751" y="205979"/>
            <a:ext cx="5459249" cy="43886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Plassholder for lysbildenummer 5"/>
          <p:cNvSpPr txBox="1">
            <a:spLocks/>
          </p:cNvSpPr>
          <p:nvPr userDrawn="1"/>
        </p:nvSpPr>
        <p:spPr>
          <a:xfrm>
            <a:off x="-1" y="4815936"/>
            <a:ext cx="640523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1" i="0" smtClean="0">
                <a:latin typeface="Arial"/>
                <a:cs typeface="Arial"/>
              </a:rPr>
              <a:pPr algn="ctr"/>
              <a:t>‹#›</a:t>
            </a:fld>
            <a:endParaRPr lang="nb-NO" b="1" i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35765" y="3305176"/>
            <a:ext cx="7458948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035765" y="2180035"/>
            <a:ext cx="7458948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95551" y="205979"/>
            <a:ext cx="7407404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114712" y="1200151"/>
            <a:ext cx="3667845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305712" y="1200151"/>
            <a:ext cx="3673943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59523" y="205979"/>
            <a:ext cx="7407404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069676" y="1151335"/>
            <a:ext cx="376691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069676" y="1631156"/>
            <a:ext cx="376691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5257502" y="1151335"/>
            <a:ext cx="381221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5257502" y="1631156"/>
            <a:ext cx="3812219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464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142491" y="204788"/>
            <a:ext cx="4765084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024642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194628" y="205979"/>
            <a:ext cx="7407404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194628" y="1200151"/>
            <a:ext cx="7407404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4" name="Bilde 3" descr="stripe_16_9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4560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tags" Target="../tags/tag2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1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sz="2400" dirty="0"/>
              <a:t>NTNU – Samlokaliseringsprosjektet - fusjon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14753" y="2821473"/>
            <a:ext cx="7772400" cy="1314450"/>
          </a:xfrm>
        </p:spPr>
        <p:txBody>
          <a:bodyPr/>
          <a:lstStyle/>
          <a:p>
            <a:r>
              <a:rPr lang="nb-NO" dirty="0"/>
              <a:t>Status mars 2018</a:t>
            </a:r>
            <a:br>
              <a:rPr lang="nb-NO" dirty="0"/>
            </a:br>
            <a:br>
              <a:rPr lang="nb-NO" dirty="0"/>
            </a:br>
            <a:r>
              <a:rPr lang="nb-NO" sz="1200" dirty="0"/>
              <a:t>Felles LOSAM Fellesadministrasjonen 11. april 2018</a:t>
            </a:r>
            <a:endParaRPr lang="nb-NO" dirty="0"/>
          </a:p>
        </p:txBody>
      </p:sp>
      <p:pic>
        <p:nvPicPr>
          <p:cNvPr id="4" name="Bilde 6" descr="kunnskap_for_en_bedre_eple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45" r="-5896" b="-521"/>
          <a:stretch/>
        </p:blipFill>
        <p:spPr>
          <a:xfrm>
            <a:off x="6875992" y="2527490"/>
            <a:ext cx="1938274" cy="1918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48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00556" y="9635"/>
            <a:ext cx="7261566" cy="5133865"/>
          </a:xfrm>
          <a:prstGeom prst="rect">
            <a:avLst/>
          </a:prstGeom>
        </p:spPr>
      </p:pic>
      <p:pic>
        <p:nvPicPr>
          <p:cNvPr id="9" name="Content Placeholder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2939" y="12523"/>
            <a:ext cx="7070036" cy="4998455"/>
          </a:xfrm>
          <a:prstGeom prst="rect">
            <a:avLst/>
          </a:prstGeom>
        </p:spPr>
      </p:pic>
      <p:sp>
        <p:nvSpPr>
          <p:cNvPr id="10" name="TekstSylinder 47"/>
          <p:cNvSpPr txBox="1"/>
          <p:nvPr/>
        </p:nvSpPr>
        <p:spPr>
          <a:xfrm>
            <a:off x="730891" y="2576567"/>
            <a:ext cx="1051527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ærerutdanning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676400" y="2756452"/>
            <a:ext cx="475683" cy="183469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kstSylinder 47"/>
          <p:cNvSpPr txBox="1"/>
          <p:nvPr/>
        </p:nvSpPr>
        <p:spPr>
          <a:xfrm>
            <a:off x="2678960" y="3102530"/>
            <a:ext cx="1495475" cy="646331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llesadm.–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R-HMS-avd, Øk.avd, IT-avd, </a:t>
            </a:r>
            <a:r>
              <a:rPr kumimoji="0" lang="nb-NO" sz="900" b="1" i="0" u="none" strike="noStrike" kern="100" cap="none" spc="56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udieadm</a:t>
            </a: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k.forvalting</a:t>
            </a:r>
            <a:endParaRPr kumimoji="0" lang="nb-NO" sz="900" b="1" i="0" u="none" strike="noStrike" kern="100" cap="none" spc="56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 flipH="1" flipV="1">
            <a:off x="2378765" y="3107094"/>
            <a:ext cx="349162" cy="148646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kstSylinder 47"/>
          <p:cNvSpPr txBox="1"/>
          <p:nvPr/>
        </p:nvSpPr>
        <p:spPr>
          <a:xfrm>
            <a:off x="2470025" y="876059"/>
            <a:ext cx="2207811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E - Elektrolabber, Allmenn forkurs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4574775" y="957976"/>
            <a:ext cx="407417" cy="366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kstSylinder 47"/>
          <p:cNvSpPr txBox="1"/>
          <p:nvPr/>
        </p:nvSpPr>
        <p:spPr>
          <a:xfrm>
            <a:off x="5135216" y="1864973"/>
            <a:ext cx="1245705" cy="507831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E – Elektroniske  systemer, </a:t>
            </a:r>
            <a:r>
              <a:rPr kumimoji="0" lang="nb-NO" sz="900" b="1" i="0" u="none" strike="noStrike" kern="100" cap="none" spc="56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.kraft</a:t>
            </a: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Tekn. </a:t>
            </a:r>
            <a:r>
              <a:rPr kumimoji="0" lang="nb-NO" sz="900" b="1" i="0" u="none" strike="noStrike" kern="100" cap="none" spc="56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yb</a:t>
            </a:r>
            <a:r>
              <a:rPr kumimoji="0" lang="nb-NO" sz="900" b="1" i="0" u="none" strike="noStrike" kern="100" cap="none" spc="56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  <a:endParaRPr kumimoji="0" lang="nb-NO" sz="900" b="1" i="0" u="none" strike="noStrike" kern="100" cap="none" spc="56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H="1" flipV="1">
            <a:off x="5135217" y="1410815"/>
            <a:ext cx="231913" cy="49695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 flipV="1">
            <a:off x="5718150" y="1123319"/>
            <a:ext cx="304964" cy="16876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kstSylinder 47"/>
          <p:cNvSpPr txBox="1"/>
          <p:nvPr/>
        </p:nvSpPr>
        <p:spPr>
          <a:xfrm>
            <a:off x="5907157" y="1224620"/>
            <a:ext cx="1692608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teknikk og informatikk</a:t>
            </a:r>
          </a:p>
        </p:txBody>
      </p:sp>
      <p:cxnSp>
        <p:nvCxnSpPr>
          <p:cNvPr id="35" name="Straight Arrow Connector 34"/>
          <p:cNvCxnSpPr>
            <a:stCxn id="30" idx="1"/>
          </p:cNvCxnSpPr>
          <p:nvPr/>
        </p:nvCxnSpPr>
        <p:spPr>
          <a:xfrm flipH="1" flipV="1">
            <a:off x="5441361" y="1292088"/>
            <a:ext cx="465796" cy="47948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kstSylinder 47"/>
          <p:cNvSpPr txBox="1"/>
          <p:nvPr/>
        </p:nvSpPr>
        <p:spPr>
          <a:xfrm>
            <a:off x="3083905" y="1056894"/>
            <a:ext cx="1490870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V – Fornybar energi </a:t>
            </a: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4461022" y="1179199"/>
            <a:ext cx="375171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H="1" flipV="1">
            <a:off x="5963166" y="827178"/>
            <a:ext cx="225600" cy="19006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kstSylinder 47"/>
          <p:cNvSpPr txBox="1"/>
          <p:nvPr/>
        </p:nvSpPr>
        <p:spPr>
          <a:xfrm>
            <a:off x="3895982" y="74841"/>
            <a:ext cx="1490870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V – Maskin og logistikk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4810539" y="636929"/>
            <a:ext cx="380311" cy="25385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kstSylinder 47"/>
          <p:cNvSpPr txBox="1"/>
          <p:nvPr/>
        </p:nvSpPr>
        <p:spPr>
          <a:xfrm>
            <a:off x="6042366" y="968504"/>
            <a:ext cx="1212575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V – Bygg og miljø</a:t>
            </a:r>
          </a:p>
        </p:txBody>
      </p:sp>
      <p:sp>
        <p:nvSpPr>
          <p:cNvPr id="50" name="TekstSylinder 47"/>
          <p:cNvSpPr txBox="1"/>
          <p:nvPr/>
        </p:nvSpPr>
        <p:spPr>
          <a:xfrm>
            <a:off x="7034063" y="221290"/>
            <a:ext cx="1490870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V – Geologi og berg</a:t>
            </a:r>
          </a:p>
        </p:txBody>
      </p:sp>
      <p:cxnSp>
        <p:nvCxnSpPr>
          <p:cNvPr id="51" name="Straight Arrow Connector 50"/>
          <p:cNvCxnSpPr/>
          <p:nvPr/>
        </p:nvCxnSpPr>
        <p:spPr>
          <a:xfrm flipH="1">
            <a:off x="7004719" y="392843"/>
            <a:ext cx="91820" cy="7098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TekstSylinder 47"/>
          <p:cNvSpPr txBox="1"/>
          <p:nvPr/>
        </p:nvSpPr>
        <p:spPr>
          <a:xfrm>
            <a:off x="3465131" y="500072"/>
            <a:ext cx="1490870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V – Materialteknologi</a:t>
            </a:r>
          </a:p>
        </p:txBody>
      </p:sp>
      <p:cxnSp>
        <p:nvCxnSpPr>
          <p:cNvPr id="59" name="Straight Arrow Connector 58"/>
          <p:cNvCxnSpPr/>
          <p:nvPr/>
        </p:nvCxnSpPr>
        <p:spPr>
          <a:xfrm>
            <a:off x="5270426" y="210000"/>
            <a:ext cx="145770" cy="34963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 flipH="1">
            <a:off x="5768012" y="1736035"/>
            <a:ext cx="354492" cy="59151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kstSylinder 47"/>
          <p:cNvSpPr txBox="1"/>
          <p:nvPr/>
        </p:nvSpPr>
        <p:spPr>
          <a:xfrm>
            <a:off x="6023114" y="1601065"/>
            <a:ext cx="1490870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ØK– Samfunnsøkonomi</a:t>
            </a:r>
          </a:p>
        </p:txBody>
      </p:sp>
      <p:sp>
        <p:nvSpPr>
          <p:cNvPr id="71" name="TekstSylinder 47"/>
          <p:cNvSpPr txBox="1"/>
          <p:nvPr/>
        </p:nvSpPr>
        <p:spPr>
          <a:xfrm>
            <a:off x="3108006" y="309426"/>
            <a:ext cx="2023273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V – Matteknologi (utredes)</a:t>
            </a:r>
          </a:p>
        </p:txBody>
      </p:sp>
      <p:cxnSp>
        <p:nvCxnSpPr>
          <p:cNvPr id="77" name="Straight Arrow Connector 76"/>
          <p:cNvCxnSpPr/>
          <p:nvPr/>
        </p:nvCxnSpPr>
        <p:spPr>
          <a:xfrm>
            <a:off x="4956001" y="436471"/>
            <a:ext cx="460195" cy="39070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kstSylinder 2"/>
          <p:cNvSpPr txBox="1"/>
          <p:nvPr/>
        </p:nvSpPr>
        <p:spPr>
          <a:xfrm>
            <a:off x="640416" y="143"/>
            <a:ext cx="2189989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spAutoFit/>
          </a:bodyPr>
          <a:lstStyle/>
          <a:p>
            <a:pPr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badi MT Condensed Extra Bold"/>
              </a:rPr>
              <a:t>Samlokalisering etter fusjon</a:t>
            </a:r>
            <a:r>
              <a:rPr lang="nb-NO" sz="1200" dirty="0">
                <a:solidFill>
                  <a:srgbClr val="000000"/>
                </a:solidFill>
                <a:latin typeface="Calibri"/>
                <a:cs typeface="Abadi MT Condensed Extra Bold"/>
              </a:rPr>
              <a:t> </a:t>
            </a:r>
            <a:br>
              <a:rPr lang="nb-NO" sz="1200" dirty="0">
                <a:solidFill>
                  <a:srgbClr val="000000"/>
                </a:solidFill>
                <a:latin typeface="Calibri"/>
                <a:cs typeface="Calibri"/>
              </a:rPr>
            </a:br>
            <a:r>
              <a:rPr lang="nb-NO" sz="1200" dirty="0">
                <a:solidFill>
                  <a:srgbClr val="000000"/>
                </a:solidFill>
                <a:latin typeface="Calibri"/>
                <a:cs typeface="Abadi MT Condensed Extra Bold"/>
              </a:rPr>
              <a:t> 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badi MT Condensed Extra Bold"/>
              </a:rPr>
              <a:t>– nye lokasjoner</a:t>
            </a:r>
            <a:r>
              <a:rPr lang="nb-NO" sz="1200" dirty="0">
                <a:solidFill>
                  <a:srgbClr val="000000"/>
                </a:solidFill>
                <a:latin typeface="Calibri"/>
                <a:cs typeface="Abadi MT Condensed Extra Bold"/>
              </a:rPr>
              <a:t> 2018-2020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badi MT Condensed Extra Bold"/>
              </a:rPr>
              <a:t>:</a:t>
            </a:r>
            <a:r>
              <a:rPr lang="nb-NO" sz="1200" dirty="0">
                <a:solidFill>
                  <a:srgbClr val="000000"/>
                </a:solidFill>
                <a:latin typeface="Calibri"/>
                <a:cs typeface="Abadi MT Condensed Extra Bold"/>
              </a:rPr>
              <a:t>  </a:t>
            </a: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badi MT Condensed Extra Bold"/>
            </a:endParaRPr>
          </a:p>
        </p:txBody>
      </p:sp>
      <p:cxnSp>
        <p:nvCxnSpPr>
          <p:cNvPr id="85" name="Straight Arrow Connector 84"/>
          <p:cNvCxnSpPr/>
          <p:nvPr/>
        </p:nvCxnSpPr>
        <p:spPr>
          <a:xfrm flipH="1" flipV="1">
            <a:off x="7612437" y="1151259"/>
            <a:ext cx="167061" cy="22510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kstSylinder 47"/>
          <p:cNvSpPr txBox="1"/>
          <p:nvPr/>
        </p:nvSpPr>
        <p:spPr>
          <a:xfrm>
            <a:off x="2303362" y="691378"/>
            <a:ext cx="2734045" cy="230832"/>
          </a:xfrm>
          <a:prstGeom prst="rect">
            <a:avLst/>
          </a:prstGeom>
          <a:solidFill>
            <a:schemeClr val="bg1"/>
          </a:solidFill>
          <a:effectLst>
            <a:softEdge rad="50800"/>
          </a:effectLst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V - Program for Industriell økologi (</a:t>
            </a:r>
            <a:r>
              <a:rPr kumimoji="0" lang="nb-NO" sz="900" b="1" i="0" u="none" strike="noStrike" kern="100" cap="none" spc="56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Ecol</a:t>
            </a:r>
            <a:r>
              <a:rPr kumimoji="0" lang="nb-NO" sz="900" b="1" i="0" u="none" strike="noStrike" kern="100" cap="none" spc="5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cxnSp>
        <p:nvCxnSpPr>
          <p:cNvPr id="39" name="Straight Arrow Connector 46"/>
          <p:cNvCxnSpPr/>
          <p:nvPr/>
        </p:nvCxnSpPr>
        <p:spPr>
          <a:xfrm>
            <a:off x="4778483" y="780191"/>
            <a:ext cx="412367" cy="108715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384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2400" dirty="0"/>
              <a:t>Prosjektoversikt -  samlokalisering etter fusjo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062198" y="996382"/>
            <a:ext cx="7407404" cy="4061196"/>
          </a:xfrm>
        </p:spPr>
        <p:txBody>
          <a:bodyPr>
            <a:normAutofit fontScale="85000" lnSpcReduction="20000"/>
          </a:bodyPr>
          <a:lstStyle/>
          <a:p>
            <a:r>
              <a:rPr lang="nb-NO" sz="1400" dirty="0"/>
              <a:t>Prosjekter under gjennomføring  </a:t>
            </a:r>
          </a:p>
          <a:p>
            <a:pPr marL="457200" lvl="1" indent="0">
              <a:buNone/>
            </a:pPr>
            <a:r>
              <a:rPr lang="nb-NO" sz="1100" dirty="0"/>
              <a:t>Fra Kalvskinnet til Gløshaugen: </a:t>
            </a:r>
          </a:p>
          <a:p>
            <a:pPr lvl="1"/>
            <a:r>
              <a:rPr lang="nb-NO" sz="1100" dirty="0"/>
              <a:t>IV - fornybar energi til Varmeteknisk</a:t>
            </a:r>
          </a:p>
          <a:p>
            <a:pPr lvl="1"/>
            <a:r>
              <a:rPr lang="nb-NO" sz="1100" dirty="0"/>
              <a:t>IE - IDI undervisning/studentareal til Realfagbygget A-blokka </a:t>
            </a:r>
          </a:p>
          <a:p>
            <a:pPr lvl="1"/>
            <a:r>
              <a:rPr lang="nb-NO" sz="1100" dirty="0"/>
              <a:t>IE – Elektrolabber og Allmenn forkurs til Høgskoleringen 3 </a:t>
            </a:r>
          </a:p>
          <a:p>
            <a:pPr lvl="1"/>
            <a:r>
              <a:rPr lang="nb-NO" sz="1100" dirty="0"/>
              <a:t>IE - Elektroniske systemer, </a:t>
            </a:r>
            <a:r>
              <a:rPr lang="nb-NO" sz="1100" dirty="0" err="1"/>
              <a:t>El.kraft</a:t>
            </a:r>
            <a:r>
              <a:rPr lang="nb-NO" sz="1100" dirty="0"/>
              <a:t>, Tekn. </a:t>
            </a:r>
            <a:r>
              <a:rPr lang="nb-NO" sz="1100" dirty="0" err="1"/>
              <a:t>Kyb</a:t>
            </a:r>
            <a:r>
              <a:rPr lang="nb-NO" sz="1100" dirty="0"/>
              <a:t> til Elektroblokkene</a:t>
            </a:r>
          </a:p>
          <a:p>
            <a:pPr marL="457200" lvl="1" indent="0">
              <a:buNone/>
            </a:pPr>
            <a:r>
              <a:rPr lang="nb-NO" sz="1100" dirty="0"/>
              <a:t>Fra Gløshaugen til Kalvskinnet:</a:t>
            </a:r>
          </a:p>
          <a:p>
            <a:pPr lvl="1"/>
            <a:r>
              <a:rPr lang="nb-NO" sz="1100" dirty="0"/>
              <a:t>Fellesadm - Digital eksamen til Sukkerhuset</a:t>
            </a:r>
          </a:p>
          <a:p>
            <a:pPr marL="457200" lvl="1" indent="0">
              <a:buNone/>
            </a:pPr>
            <a:endParaRPr lang="nb-NO" sz="1100" dirty="0"/>
          </a:p>
          <a:p>
            <a:r>
              <a:rPr lang="nb-NO" sz="1400" dirty="0"/>
              <a:t>Prosjekter under planlegging/prosjektering</a:t>
            </a:r>
          </a:p>
          <a:p>
            <a:pPr marL="457200" lvl="1" indent="0">
              <a:buNone/>
            </a:pPr>
            <a:r>
              <a:rPr lang="nb-NO" sz="1100" dirty="0"/>
              <a:t>Fra Kalvskinnet/Dragvoll til Gløshaugen: </a:t>
            </a:r>
          </a:p>
          <a:p>
            <a:pPr lvl="1"/>
            <a:r>
              <a:rPr lang="nb-NO" sz="1100" dirty="0"/>
              <a:t>IV - Geologi og berg til Valgrinda (nybygg)</a:t>
            </a:r>
          </a:p>
          <a:p>
            <a:pPr lvl="1"/>
            <a:r>
              <a:rPr lang="nb-NO" sz="1100" dirty="0"/>
              <a:t>IV - Maskin og logistikk​ til Verkstedteknisk</a:t>
            </a:r>
          </a:p>
          <a:p>
            <a:pPr lvl="1"/>
            <a:r>
              <a:rPr lang="nb-NO" sz="1100" dirty="0"/>
              <a:t>IV - Bygg og miljø til Bygningsteknisk</a:t>
            </a:r>
          </a:p>
          <a:p>
            <a:pPr lvl="1"/>
            <a:r>
              <a:rPr lang="nb-NO" sz="1100" dirty="0"/>
              <a:t>ØK - Samfunnsøkonomi til Rustbygget</a:t>
            </a:r>
          </a:p>
          <a:p>
            <a:pPr marL="457200" lvl="1" indent="0">
              <a:buNone/>
            </a:pPr>
            <a:r>
              <a:rPr lang="nb-NO" sz="1100" dirty="0"/>
              <a:t>Fra Moholt/Dragvoll/Gløshaugen til Kalvskinnet: </a:t>
            </a:r>
          </a:p>
          <a:p>
            <a:pPr lvl="1"/>
            <a:r>
              <a:rPr lang="nb-NO" sz="1100" dirty="0"/>
              <a:t>SU – Lærerutdanningen fra Moholt til Gunnerus gt. 1 </a:t>
            </a:r>
          </a:p>
          <a:p>
            <a:pPr lvl="1"/>
            <a:r>
              <a:rPr lang="nb-NO" sz="1100" dirty="0"/>
              <a:t>Fellesadm - Øk.avd, IT-avd, Avd for </a:t>
            </a:r>
            <a:r>
              <a:rPr lang="nb-NO" sz="1100" dirty="0" err="1"/>
              <a:t>studieadm</a:t>
            </a:r>
            <a:r>
              <a:rPr lang="nb-NO" sz="1100" dirty="0"/>
              <a:t>., Avd for </a:t>
            </a:r>
            <a:r>
              <a:rPr lang="nb-NO" sz="1100" dirty="0" err="1"/>
              <a:t>dok.forvaltning</a:t>
            </a:r>
            <a:r>
              <a:rPr lang="nb-NO" sz="1100" dirty="0"/>
              <a:t>, HR-HMS-avd</a:t>
            </a:r>
          </a:p>
          <a:p>
            <a:pPr marL="457200" lvl="1" indent="0">
              <a:buNone/>
            </a:pPr>
            <a:endParaRPr lang="nb-NO" sz="1100" dirty="0"/>
          </a:p>
          <a:p>
            <a:r>
              <a:rPr lang="nb-NO" sz="1400" dirty="0"/>
              <a:t>Prosjekter ikke startet planlegging/prosjektering </a:t>
            </a:r>
          </a:p>
          <a:p>
            <a:pPr marL="457200" lvl="1" indent="0">
              <a:buNone/>
            </a:pPr>
            <a:r>
              <a:rPr lang="nb-NO" sz="1100" dirty="0"/>
              <a:t>Fra Kalvskinnet til Gløshaugen</a:t>
            </a:r>
          </a:p>
          <a:p>
            <a:pPr lvl="1"/>
            <a:r>
              <a:rPr lang="nb-NO" sz="1100" dirty="0"/>
              <a:t>IE - Datateknikk og informatikk til IT-bygg</a:t>
            </a:r>
          </a:p>
          <a:p>
            <a:pPr lvl="1"/>
            <a:r>
              <a:rPr lang="nb-NO" sz="1100" dirty="0"/>
              <a:t>IV - Program for Industriell økologi (</a:t>
            </a:r>
            <a:r>
              <a:rPr lang="nb-NO" sz="1100" dirty="0" err="1"/>
              <a:t>IndEcol</a:t>
            </a:r>
            <a:r>
              <a:rPr lang="nb-NO" sz="1100" dirty="0"/>
              <a:t>) til Oppredningen</a:t>
            </a:r>
          </a:p>
          <a:p>
            <a:pPr lvl="1"/>
            <a:r>
              <a:rPr lang="nb-NO" sz="1100" dirty="0"/>
              <a:t>NV – Materialteknologi til Oppredningen</a:t>
            </a:r>
          </a:p>
          <a:p>
            <a:pPr lvl="1"/>
            <a:r>
              <a:rPr lang="nb-NO" sz="1100" dirty="0"/>
              <a:t>NV – Kjemilaboratorier </a:t>
            </a:r>
            <a:r>
              <a:rPr lang="nb-NO" sz="1100"/>
              <a:t>til Realfagbygget </a:t>
            </a:r>
            <a:endParaRPr lang="nb-NO" sz="1100" dirty="0"/>
          </a:p>
          <a:p>
            <a:pPr lvl="1"/>
            <a:r>
              <a:rPr lang="nb-NO" sz="1100" dirty="0"/>
              <a:t>NV – Mat-teknologi til Realfagbygget (utredes)</a:t>
            </a:r>
          </a:p>
          <a:p>
            <a:pPr lvl="1"/>
            <a:r>
              <a:rPr lang="nb-NO" sz="1100" dirty="0" err="1"/>
              <a:t>Felleslab</a:t>
            </a:r>
            <a:r>
              <a:rPr lang="nb-NO" sz="1100" dirty="0"/>
              <a:t> IE,IV og NV til Oppredningen</a:t>
            </a:r>
          </a:p>
          <a:p>
            <a:pPr lvl="1"/>
            <a:endParaRPr lang="nb-NO" sz="1100" dirty="0"/>
          </a:p>
          <a:p>
            <a:pPr lvl="1"/>
            <a:endParaRPr lang="nb-NO" sz="1100" dirty="0"/>
          </a:p>
          <a:p>
            <a:endParaRPr lang="nb-NO" sz="1500" dirty="0"/>
          </a:p>
          <a:p>
            <a:pPr lvl="1"/>
            <a:endParaRPr lang="nb-NO" sz="1100" dirty="0"/>
          </a:p>
          <a:p>
            <a:pPr lvl="1"/>
            <a:endParaRPr lang="nb-NO" sz="1100" dirty="0"/>
          </a:p>
        </p:txBody>
      </p:sp>
    </p:spTree>
    <p:extLst>
      <p:ext uri="{BB962C8B-B14F-4D97-AF65-F5344CB8AC3E}">
        <p14:creationId xmlns:p14="http://schemas.microsoft.com/office/powerpoint/2010/main" val="180262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verordnet status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4628" y="1200150"/>
            <a:ext cx="7407404" cy="3695699"/>
          </a:xfrm>
        </p:spPr>
        <p:txBody>
          <a:bodyPr>
            <a:normAutofit fontScale="70000" lnSpcReduction="20000"/>
          </a:bodyPr>
          <a:lstStyle/>
          <a:p>
            <a:r>
              <a:rPr lang="nb-NO" dirty="0"/>
              <a:t>Fremdrift</a:t>
            </a:r>
          </a:p>
          <a:p>
            <a:pPr lvl="1"/>
            <a:r>
              <a:rPr lang="nb-NO" dirty="0"/>
              <a:t>Samling av lærerutdanningen på Kalvskinnet i rute til desember 2018, men stram tidsplan</a:t>
            </a:r>
          </a:p>
          <a:p>
            <a:pPr lvl="1"/>
            <a:r>
              <a:rPr lang="nb-NO" dirty="0"/>
              <a:t>Øvrige flyttinger kan gjennomføres innen 2020 (forutsatt økonomisk ramme)</a:t>
            </a:r>
          </a:p>
          <a:p>
            <a:pPr lvl="1"/>
            <a:endParaRPr lang="nb-NO" dirty="0"/>
          </a:p>
          <a:p>
            <a:r>
              <a:rPr lang="nb-NO" dirty="0"/>
              <a:t>Økonomi</a:t>
            </a:r>
          </a:p>
          <a:p>
            <a:pPr lvl="1"/>
            <a:r>
              <a:rPr lang="nb-NO" dirty="0"/>
              <a:t>Estimert sluttprognose over avsatt ramme på 415 MNOK</a:t>
            </a:r>
          </a:p>
          <a:p>
            <a:pPr lvl="1"/>
            <a:endParaRPr lang="nb-NO" dirty="0"/>
          </a:p>
          <a:p>
            <a:r>
              <a:rPr lang="nb-NO" dirty="0"/>
              <a:t>Omfang/kvalitet</a:t>
            </a:r>
          </a:p>
          <a:p>
            <a:pPr lvl="1"/>
            <a:r>
              <a:rPr lang="nb-NO" dirty="0"/>
              <a:t>Gap mellom grunnlag for kalkyler og forventninger </a:t>
            </a:r>
          </a:p>
          <a:p>
            <a:pPr lvl="2"/>
            <a:r>
              <a:rPr lang="nb-NO" dirty="0"/>
              <a:t>fysisk samlokalisering vs faglig integrasjon </a:t>
            </a:r>
          </a:p>
          <a:p>
            <a:pPr lvl="2"/>
            <a:r>
              <a:rPr lang="nb-NO" dirty="0"/>
              <a:t>midlertidig vs langsiktig løsning </a:t>
            </a:r>
          </a:p>
          <a:p>
            <a:pPr lvl="2"/>
            <a:r>
              <a:rPr lang="nb-NO" dirty="0"/>
              <a:t>Arbeidsplassutforming / undervisningsarealer</a:t>
            </a:r>
          </a:p>
          <a:p>
            <a:pPr lvl="1"/>
            <a:r>
              <a:rPr lang="nb-NO" dirty="0"/>
              <a:t>Gap i grunnlaget for bygningsmessige tiltak og reell behov </a:t>
            </a:r>
          </a:p>
          <a:p>
            <a:pPr lvl="2"/>
            <a:r>
              <a:rPr lang="nb-NO" dirty="0"/>
              <a:t>Endringer i forutsetninger/grunnlag for kalkyle</a:t>
            </a:r>
          </a:p>
          <a:p>
            <a:pPr lvl="2"/>
            <a:r>
              <a:rPr lang="nb-NO" dirty="0"/>
              <a:t>Behov for større bygningsmessige tilpasninger enn forutsatt</a:t>
            </a:r>
          </a:p>
          <a:p>
            <a:pPr lvl="2"/>
            <a:endParaRPr lang="nb-NO" dirty="0"/>
          </a:p>
          <a:p>
            <a:pPr lvl="2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03992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ltak i prosjektet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4628" y="1257301"/>
            <a:ext cx="7407404" cy="3394472"/>
          </a:xfrm>
        </p:spPr>
        <p:txBody>
          <a:bodyPr>
            <a:normAutofit/>
          </a:bodyPr>
          <a:lstStyle/>
          <a:p>
            <a:r>
              <a:rPr lang="nb-NO" dirty="0"/>
              <a:t>Avklarer forutsetninger med </a:t>
            </a:r>
            <a:r>
              <a:rPr lang="nb-NO" dirty="0" err="1"/>
              <a:t>inst</a:t>
            </a:r>
            <a:r>
              <a:rPr lang="nb-NO" dirty="0"/>
              <a:t>/fakultet</a:t>
            </a:r>
          </a:p>
          <a:p>
            <a:r>
              <a:rPr lang="nb-NO" dirty="0"/>
              <a:t>Kvalitetssikrer kalkyler, inkl kuttliste </a:t>
            </a:r>
          </a:p>
          <a:p>
            <a:r>
              <a:rPr lang="nb-NO" dirty="0"/>
              <a:t>Tilfører økt kapasitet fra interne organisasjon eiendom og øker eksternt innleie av kapasitet </a:t>
            </a:r>
          </a:p>
          <a:p>
            <a:r>
              <a:rPr lang="nb-NO" dirty="0" err="1"/>
              <a:t>Styringsmessig</a:t>
            </a:r>
            <a:r>
              <a:rPr lang="nb-NO" dirty="0"/>
              <a:t> avklaringer inkl avklaringer med Campusprosjektet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1747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3182" y="899651"/>
            <a:ext cx="4978058" cy="387182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2400" dirty="0"/>
              <a:t>Fellesadministrative avdelinger til Kalvskinnet</a:t>
            </a:r>
            <a:endParaRPr lang="nb-NO" sz="18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63688" y="997859"/>
            <a:ext cx="3465860" cy="4145641"/>
          </a:xfrm>
        </p:spPr>
        <p:txBody>
          <a:bodyPr>
            <a:normAutofit fontScale="70000" lnSpcReduction="20000"/>
          </a:bodyPr>
          <a:lstStyle/>
          <a:p>
            <a:pPr lvl="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2000" b="1" kern="100" spc="56" dirty="0">
                <a:solidFill>
                  <a:prstClr val="black"/>
                </a:solidFill>
                <a:latin typeface="Calibri"/>
              </a:rPr>
              <a:t>Vår 2018 - &gt;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Prosess med berørte avdelinger – avklare funksjoner/behov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Innspill ombygging av Gunnerus gt. 1 (Sør-del), Sverres gt. 10, </a:t>
            </a:r>
            <a:r>
              <a:rPr lang="nb-NO" sz="1600" b="1" kern="100" spc="56" dirty="0" err="1">
                <a:solidFill>
                  <a:prstClr val="black"/>
                </a:solidFill>
                <a:latin typeface="Calibri"/>
              </a:rPr>
              <a:t>Akrinn</a:t>
            </a:r>
            <a:endParaRPr lang="nb-NO" sz="1600" b="1" kern="100" spc="56" dirty="0">
              <a:solidFill>
                <a:prstClr val="black"/>
              </a:solidFill>
              <a:latin typeface="Calibri"/>
            </a:endParaRPr>
          </a:p>
          <a:p>
            <a:pPr marL="457200" lvl="1" indent="0">
              <a:spcBef>
                <a:spcPts val="0"/>
              </a:spcBef>
              <a:buNone/>
              <a:defRPr/>
            </a:pPr>
            <a:endParaRPr lang="nb-NO" sz="1600" b="1" kern="100" spc="56" dirty="0">
              <a:solidFill>
                <a:prstClr val="black"/>
              </a:solidFill>
              <a:latin typeface="Calibri"/>
            </a:endParaRPr>
          </a:p>
          <a:p>
            <a:pPr marL="457200" lvl="1" indent="0">
              <a:spcBef>
                <a:spcPts val="0"/>
              </a:spcBef>
              <a:buNone/>
              <a:defRPr/>
            </a:pPr>
            <a:endParaRPr lang="nb-NO" sz="1600" b="1" kern="100" spc="56" dirty="0">
              <a:solidFill>
                <a:prstClr val="black"/>
              </a:solidFill>
              <a:latin typeface="Calibri"/>
            </a:endParaRP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2000" b="1" kern="100" spc="56" dirty="0">
                <a:solidFill>
                  <a:prstClr val="black"/>
                </a:solidFill>
                <a:latin typeface="Calibri"/>
              </a:rPr>
              <a:t> Sverres gt. 10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Planlegging og prosjektering høst 2018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Byggestart høst 2019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Ferdigstillelse høst 2020</a:t>
            </a:r>
          </a:p>
          <a:p>
            <a:pPr marL="457200" lvl="1" indent="0">
              <a:spcBef>
                <a:spcPts val="0"/>
              </a:spcBef>
              <a:buNone/>
              <a:defRPr/>
            </a:pPr>
            <a:endParaRPr lang="nb-NO" sz="1600" b="1" kern="100" spc="56" dirty="0">
              <a:solidFill>
                <a:prstClr val="black"/>
              </a:solidFill>
              <a:latin typeface="Calibri"/>
            </a:endParaRP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2000" b="1" kern="100" spc="56" dirty="0">
                <a:solidFill>
                  <a:prstClr val="black"/>
                </a:solidFill>
                <a:latin typeface="Calibri"/>
              </a:rPr>
              <a:t>Gunnerus gt. 1 – Søndre del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Planlegging og prosjektering høst 2018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Byggestart januar 2020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Ferdigstillelse aug 2020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nb-NO" sz="1600" b="1" kern="100" spc="56" dirty="0">
              <a:solidFill>
                <a:prstClr val="black"/>
              </a:solidFill>
              <a:latin typeface="Calibri"/>
            </a:endParaRP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2000" b="1" kern="100" spc="56" dirty="0" err="1">
                <a:solidFill>
                  <a:prstClr val="black"/>
                </a:solidFill>
                <a:latin typeface="Calibri"/>
              </a:rPr>
              <a:t>Akrinn</a:t>
            </a:r>
            <a:endParaRPr lang="nb-NO" sz="2000" b="1" kern="100" spc="56" dirty="0">
              <a:solidFill>
                <a:prstClr val="black"/>
              </a:solidFill>
              <a:latin typeface="Calibri"/>
            </a:endParaRP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Planlegging og prosjektering høst 2018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Byggestart aug 2020 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nb-NO" sz="1600" b="1" kern="100" spc="56" dirty="0">
                <a:solidFill>
                  <a:prstClr val="black"/>
                </a:solidFill>
                <a:latin typeface="Calibri"/>
              </a:rPr>
              <a:t>Ferdigstillelse nov 2020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nb-NO" sz="1600" b="1" kern="100" spc="56" dirty="0">
              <a:solidFill>
                <a:prstClr val="black"/>
              </a:solidFill>
              <a:latin typeface="Calibri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endParaRPr lang="nb-NO" sz="2000" b="1" kern="100" spc="56" dirty="0">
              <a:solidFill>
                <a:srgbClr val="0070C0"/>
              </a:solidFill>
              <a:latin typeface="Calibri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nb-NO" sz="2000" b="1" kern="100" spc="56" dirty="0">
                <a:solidFill>
                  <a:srgbClr val="0070C0"/>
                </a:solidFill>
                <a:latin typeface="Calibri"/>
              </a:rPr>
              <a:t>Planlegging og ombygging utføres av Statsbygg som er byggeier.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623486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Prosjektorganisasjon SAMLOK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4628" y="1200150"/>
            <a:ext cx="7407404" cy="3738854"/>
          </a:xfrm>
        </p:spPr>
        <p:txBody>
          <a:bodyPr>
            <a:normAutofit fontScale="62500" lnSpcReduction="20000"/>
          </a:bodyPr>
          <a:lstStyle/>
          <a:p>
            <a:r>
              <a:rPr lang="nb-NO" dirty="0"/>
              <a:t>Hovedprosjektleder: Jens Petter Nygård, seniorrådgiver i rektors stab</a:t>
            </a:r>
          </a:p>
          <a:p>
            <a:endParaRPr lang="nb-NO" dirty="0"/>
          </a:p>
          <a:p>
            <a:pPr lvl="1"/>
            <a:r>
              <a:rPr lang="nb-NO" dirty="0"/>
              <a:t>Prosjektleder for organisasjonsprosesser: Jens Petter Nygård, seniorrådgiver i rektors stab</a:t>
            </a:r>
          </a:p>
          <a:p>
            <a:pPr lvl="2"/>
            <a:r>
              <a:rPr lang="nb-NO" dirty="0"/>
              <a:t>Prosjektstøtte organisasjonsprosesser:</a:t>
            </a:r>
          </a:p>
          <a:p>
            <a:pPr lvl="3"/>
            <a:r>
              <a:rPr lang="nb-NO" dirty="0"/>
              <a:t>Eiendomsutvikling - Nils Jørgen Moltubakk, Anne Karoline Simonsen, Karl Fredrik Torp</a:t>
            </a:r>
          </a:p>
          <a:p>
            <a:pPr lvl="3"/>
            <a:r>
              <a:rPr lang="nb-NO" dirty="0"/>
              <a:t>Prosess//forankring/rådgivning - Trond Singsaas</a:t>
            </a:r>
          </a:p>
          <a:p>
            <a:pPr lvl="3"/>
            <a:r>
              <a:rPr lang="nb-NO" dirty="0"/>
              <a:t>Kommunikasjon - Tanja Mathiesen</a:t>
            </a:r>
          </a:p>
          <a:p>
            <a:pPr lvl="3"/>
            <a:r>
              <a:rPr lang="nb-NO" dirty="0"/>
              <a:t>Organisasjon/HMS - Linn Rasch Aune</a:t>
            </a:r>
          </a:p>
          <a:p>
            <a:pPr lvl="3"/>
            <a:r>
              <a:rPr lang="nb-NO" dirty="0"/>
              <a:t>Medvirkning - Brit Stolsmo</a:t>
            </a:r>
          </a:p>
          <a:p>
            <a:pPr lvl="3"/>
            <a:r>
              <a:rPr lang="nb-NO" dirty="0"/>
              <a:t>Læringsmiljø - Frank Børø</a:t>
            </a:r>
          </a:p>
          <a:p>
            <a:pPr lvl="3"/>
            <a:r>
              <a:rPr lang="nb-NO" dirty="0"/>
              <a:t>Flytting - Randi Askim Tiller</a:t>
            </a:r>
          </a:p>
          <a:p>
            <a:endParaRPr lang="nb-NO" dirty="0"/>
          </a:p>
          <a:p>
            <a:pPr lvl="1"/>
            <a:r>
              <a:rPr lang="nb-NO" dirty="0"/>
              <a:t>Prosjektleder for byggeprosesser: Arvid Eriksen Skjervik, HR Prosjekt AS</a:t>
            </a:r>
          </a:p>
          <a:p>
            <a:pPr lvl="2"/>
            <a:r>
              <a:rPr lang="nb-NO" dirty="0"/>
              <a:t>Prosjektstøtte byggeprosesser :</a:t>
            </a:r>
          </a:p>
          <a:p>
            <a:pPr lvl="3"/>
            <a:r>
              <a:rPr lang="nb-NO" dirty="0"/>
              <a:t>Programansvarlige - Nils Jørgen Moltubakk, Anne Karoline Simonsen, Karl Fredrik Torp</a:t>
            </a:r>
          </a:p>
          <a:p>
            <a:pPr lvl="3"/>
            <a:r>
              <a:rPr lang="nb-NO" dirty="0"/>
              <a:t>Eiendomsforvaltning – Geir Nilsen, Børge Aune</a:t>
            </a:r>
          </a:p>
          <a:p>
            <a:pPr lvl="3"/>
            <a:r>
              <a:rPr lang="nb-NO" dirty="0"/>
              <a:t>Prosjektstyring (plan, økonom, fremdrift, risiko) – Einar Kristoffersen Skei, Nina Oxås Nilsen</a:t>
            </a:r>
          </a:p>
          <a:p>
            <a:pPr lvl="3"/>
            <a:r>
              <a:rPr lang="nb-NO" dirty="0"/>
              <a:t>Tekniske flyttinger- Randi Askim Tiller</a:t>
            </a:r>
          </a:p>
          <a:p>
            <a:pPr lvl="3"/>
            <a:r>
              <a:rPr lang="nb-NO" dirty="0"/>
              <a:t>Interne og eksterne delprosjektledere</a:t>
            </a:r>
          </a:p>
          <a:p>
            <a:pPr lvl="3"/>
            <a:r>
              <a:rPr lang="nb-NO" dirty="0"/>
              <a:t>Rådgivende ingeniører og prosjekteringsteam</a:t>
            </a:r>
          </a:p>
        </p:txBody>
      </p:sp>
    </p:spTree>
    <p:extLst>
      <p:ext uri="{BB962C8B-B14F-4D97-AF65-F5344CB8AC3E}">
        <p14:creationId xmlns:p14="http://schemas.microsoft.com/office/powerpoint/2010/main" val="2022773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189">
              <a:spcBef>
                <a:spcPct val="0"/>
              </a:spcBef>
              <a:spcAft>
                <a:spcPct val="0"/>
              </a:spcAft>
            </a:pPr>
            <a:endParaRPr lang="nb-NO" sz="36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n overordnede prosessen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707406049"/>
              </p:ext>
            </p:extLst>
          </p:nvPr>
        </p:nvGraphicFramePr>
        <p:xfrm>
          <a:off x="2012080" y="1778236"/>
          <a:ext cx="6793784" cy="16897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233539" y="878563"/>
            <a:ext cx="643971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nb-NO" sz="1350" dirty="0">
                <a:solidFill>
                  <a:prstClr val="black"/>
                </a:solidFill>
                <a:latin typeface="Calibri"/>
              </a:rPr>
              <a:t>Prosessen har følgende overordnede faser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09626" y="2330738"/>
            <a:ext cx="11334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nb-NO" sz="3200" dirty="0">
                <a:solidFill>
                  <a:prstClr val="black"/>
                </a:solidFill>
                <a:latin typeface="Calibri"/>
              </a:rPr>
              <a:t>Fas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09626" y="3528083"/>
            <a:ext cx="113347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nb-NO" sz="1350" dirty="0">
                <a:solidFill>
                  <a:prstClr val="black"/>
                </a:solidFill>
                <a:latin typeface="Calibri"/>
              </a:rPr>
              <a:t>Hoved-aktivitet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738236915"/>
              </p:ext>
            </p:extLst>
          </p:nvPr>
        </p:nvGraphicFramePr>
        <p:xfrm>
          <a:off x="2012080" y="3109985"/>
          <a:ext cx="6793784" cy="13440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733254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78WQHYRF21qtTxvaqHy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2B93BB3FACA1249BA4696FEE506C77E" ma:contentTypeVersion="" ma:contentTypeDescription="Opprett et nytt dokument." ma:contentTypeScope="" ma:versionID="81b66600e8a227152c4847f7bb534093">
  <xsd:schema xmlns:xsd="http://www.w3.org/2001/XMLSchema" xmlns:xs="http://www.w3.org/2001/XMLSchema" xmlns:p="http://schemas.microsoft.com/office/2006/metadata/properties" xmlns:ns2="3011bd27-670b-40e8-bfc7-267b8eb171af" xmlns:ns3="81ec55c6-4130-40cf-ad72-56ed52fc135b" xmlns:ns4="86abb525-4640-44a9-9af6-d037d75ab380" targetNamespace="http://schemas.microsoft.com/office/2006/metadata/properties" ma:root="true" ma:fieldsID="413bd7fb16315027fce6c0700558db93" ns2:_="" ns3:_="" ns4:_="">
    <xsd:import namespace="3011bd27-670b-40e8-bfc7-267b8eb171af"/>
    <xsd:import namespace="81ec55c6-4130-40cf-ad72-56ed52fc135b"/>
    <xsd:import namespace="86abb525-4640-44a9-9af6-d037d75ab380"/>
    <xsd:element name="properties">
      <xsd:complexType>
        <xsd:sequence>
          <xsd:element name="documentManagement">
            <xsd:complexType>
              <xsd:all>
                <xsd:element ref="ns2:TeamSiteName" minOccurs="0"/>
                <xsd:element ref="ns3:SharedWithUsers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11bd27-670b-40e8-bfc7-267b8eb171af" elementFormDefault="qualified">
    <xsd:import namespace="http://schemas.microsoft.com/office/2006/documentManagement/types"/>
    <xsd:import namespace="http://schemas.microsoft.com/office/infopath/2007/PartnerControls"/>
    <xsd:element name="TeamSiteName" ma:index="8" nillable="true" ma:displayName="TeamSite" ma:default="Samlokalisering" ma:internalName="TeamSite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ec55c6-4130-40cf-ad72-56ed52fc135b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abb525-4640-44a9-9af6-d037d75ab3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amSiteName xmlns="3011bd27-670b-40e8-bfc7-267b8eb171af">Samlokalisering</TeamSiteName>
  </documentManagement>
</p:properties>
</file>

<file path=customXml/itemProps1.xml><?xml version="1.0" encoding="utf-8"?>
<ds:datastoreItem xmlns:ds="http://schemas.openxmlformats.org/officeDocument/2006/customXml" ds:itemID="{783CD17B-0A9F-471B-A9AD-606BD61853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11bd27-670b-40e8-bfc7-267b8eb171af"/>
    <ds:schemaRef ds:uri="81ec55c6-4130-40cf-ad72-56ed52fc135b"/>
    <ds:schemaRef ds:uri="86abb525-4640-44a9-9af6-d037d75ab3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7A7875E-B800-4AD0-8C12-0148826727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802065-FD29-4CC5-A1BD-AED2E3E89FF4}">
  <ds:schemaRefs>
    <ds:schemaRef ds:uri="81ec55c6-4130-40cf-ad72-56ed52fc135b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86abb525-4640-44a9-9af6-d037d75ab380"/>
    <ds:schemaRef ds:uri="http://purl.org/dc/elements/1.1/"/>
    <ds:schemaRef ds:uri="http://schemas.openxmlformats.org/package/2006/metadata/core-properties"/>
    <ds:schemaRef ds:uri="3011bd27-670b-40e8-bfc7-267b8eb171a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blaa_stripe_16_9</Template>
  <TotalTime>0</TotalTime>
  <Words>670</Words>
  <Application>Microsoft Office PowerPoint</Application>
  <PresentationFormat>Skjermfremvisning (16:9)</PresentationFormat>
  <Paragraphs>132</Paragraphs>
  <Slides>8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3" baseType="lpstr">
      <vt:lpstr>Abadi MT Condensed Extra Bold</vt:lpstr>
      <vt:lpstr>Arial</vt:lpstr>
      <vt:lpstr>Calibri</vt:lpstr>
      <vt:lpstr>Office-tema</vt:lpstr>
      <vt:lpstr>think-cell Slide</vt:lpstr>
      <vt:lpstr>NTNU – Samlokaliseringsprosjektet - fusjon</vt:lpstr>
      <vt:lpstr>PowerPoint-presentasjon</vt:lpstr>
      <vt:lpstr>Prosjektoversikt -  samlokalisering etter fusjon</vt:lpstr>
      <vt:lpstr>Overordnet status</vt:lpstr>
      <vt:lpstr>Tiltak i prosjektet</vt:lpstr>
      <vt:lpstr>Fellesadministrative avdelinger til Kalvskinnet</vt:lpstr>
      <vt:lpstr>Prosjektorganisasjon SAMLOK</vt:lpstr>
      <vt:lpstr>Den overordnede prosesse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lokalisering etter fusjon</dc:title>
  <dc:creator>Jens Petter Nygård</dc:creator>
  <cp:lastModifiedBy>Janne Beate Gjengaar</cp:lastModifiedBy>
  <cp:revision>211</cp:revision>
  <dcterms:created xsi:type="dcterms:W3CDTF">2017-11-08T19:20:27Z</dcterms:created>
  <dcterms:modified xsi:type="dcterms:W3CDTF">2018-04-12T13:5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B93BB3FACA1249BA4696FEE506C77E</vt:lpwstr>
  </property>
</Properties>
</file>